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commentAuthors.xml" ContentType="application/vnd.openxmlformats-officedocument.presentationml.commentAuthors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tags/tag1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Default Extension="png" ContentType="image/png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jpeg" ContentType="image/jpeg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  <p:sldMasterId id="2147483866" r:id="rId2"/>
    <p:sldMasterId id="2147483880" r:id="rId3"/>
  </p:sldMasterIdLst>
  <p:notesMasterIdLst>
    <p:notesMasterId r:id="rId10"/>
  </p:notesMasterIdLst>
  <p:handoutMasterIdLst>
    <p:handoutMasterId r:id="rId11"/>
  </p:handoutMasterIdLst>
  <p:sldIdLst>
    <p:sldId id="311" r:id="rId4"/>
    <p:sldId id="264" r:id="rId5"/>
    <p:sldId id="288" r:id="rId6"/>
    <p:sldId id="271" r:id="rId7"/>
    <p:sldId id="283" r:id="rId8"/>
    <p:sldId id="312" r:id="rId9"/>
  </p:sldIdLst>
  <p:sldSz cx="12192000" cy="6858000"/>
  <p:notesSz cx="6858000" cy="9144000"/>
  <p:custDataLst>
    <p:tags r:id="rId12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bhishek Malik" initials="AM" lastIdx="1" clrIdx="0">
    <p:extLst>
      <p:ext uri="{19B8F6BF-5375-455C-9EA6-DF929625EA0E}">
        <p15:presenceInfo xmlns="" xmlns:p15="http://schemas.microsoft.com/office/powerpoint/2012/main" userId="1ee8b6ce1caca7e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F6327"/>
    <a:srgbClr val="01D1D0"/>
    <a:srgbClr val="E6E7E7"/>
    <a:srgbClr val="0070AD"/>
    <a:srgbClr val="7F7F7F"/>
    <a:srgbClr val="6D64CC"/>
    <a:srgbClr val="7E39BA"/>
    <a:srgbClr val="4701A7"/>
    <a:srgbClr val="C8FF16"/>
    <a:srgbClr val="00C37B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-798" y="-96"/>
      </p:cViewPr>
      <p:guideLst>
        <p:guide orient="horz" pos="2341"/>
        <p:guide pos="365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2/10/2020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=""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2/10/2020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Insert comments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13242122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2712" name="think-cell Slide" r:id="rId4" imgW="360" imgH="360" progId="">
              <p:embed/>
            </p:oleObj>
          </a:graphicData>
        </a:graphic>
      </p:graphicFrame>
      <p:sp>
        <p:nvSpPr>
          <p:cNvPr id="14352" name="Freeform 16"/>
          <p:cNvSpPr>
            <a:spLocks/>
          </p:cNvSpPr>
          <p:nvPr userDrawn="1"/>
        </p:nvSpPr>
        <p:spPr bwMode="auto">
          <a:xfrm>
            <a:off x="5739551" y="838199"/>
            <a:ext cx="6452448" cy="6019801"/>
          </a:xfrm>
          <a:custGeom>
            <a:avLst/>
            <a:gdLst/>
            <a:ahLst/>
            <a:cxnLst>
              <a:cxn ang="0">
                <a:pos x="4062" y="1126"/>
              </a:cxn>
              <a:cxn ang="0">
                <a:pos x="4062" y="128"/>
              </a:cxn>
              <a:cxn ang="0">
                <a:pos x="4056" y="110"/>
              </a:cxn>
              <a:cxn ang="0">
                <a:pos x="3996" y="88"/>
              </a:cxn>
              <a:cxn ang="0">
                <a:pos x="3838" y="44"/>
              </a:cxn>
              <a:cxn ang="0">
                <a:pos x="3678" y="16"/>
              </a:cxn>
              <a:cxn ang="0">
                <a:pos x="3518" y="2"/>
              </a:cxn>
              <a:cxn ang="0">
                <a:pos x="3356" y="2"/>
              </a:cxn>
              <a:cxn ang="0">
                <a:pos x="3190" y="16"/>
              </a:cxn>
              <a:cxn ang="0">
                <a:pos x="3006" y="50"/>
              </a:cxn>
              <a:cxn ang="0">
                <a:pos x="2738" y="128"/>
              </a:cxn>
              <a:cxn ang="0">
                <a:pos x="2478" y="234"/>
              </a:cxn>
              <a:cxn ang="0">
                <a:pos x="2316" y="316"/>
              </a:cxn>
              <a:cxn ang="0">
                <a:pos x="2080" y="452"/>
              </a:cxn>
              <a:cxn ang="0">
                <a:pos x="1852" y="602"/>
              </a:cxn>
              <a:cxn ang="0">
                <a:pos x="1668" y="732"/>
              </a:cxn>
              <a:cxn ang="0">
                <a:pos x="1308" y="1006"/>
              </a:cxn>
              <a:cxn ang="0">
                <a:pos x="966" y="1278"/>
              </a:cxn>
              <a:cxn ang="0">
                <a:pos x="630" y="1536"/>
              </a:cxn>
              <a:cxn ang="0">
                <a:pos x="458" y="1658"/>
              </a:cxn>
              <a:cxn ang="0">
                <a:pos x="252" y="1786"/>
              </a:cxn>
              <a:cxn ang="0">
                <a:pos x="90" y="1868"/>
              </a:cxn>
              <a:cxn ang="0">
                <a:pos x="20" y="1898"/>
              </a:cxn>
              <a:cxn ang="0">
                <a:pos x="2" y="1906"/>
              </a:cxn>
              <a:cxn ang="0">
                <a:pos x="2" y="1918"/>
              </a:cxn>
              <a:cxn ang="0">
                <a:pos x="8" y="1932"/>
              </a:cxn>
              <a:cxn ang="0">
                <a:pos x="30" y="2248"/>
              </a:cxn>
              <a:cxn ang="0">
                <a:pos x="54" y="2446"/>
              </a:cxn>
              <a:cxn ang="0">
                <a:pos x="98" y="2724"/>
              </a:cxn>
              <a:cxn ang="0">
                <a:pos x="158" y="3002"/>
              </a:cxn>
              <a:cxn ang="0">
                <a:pos x="204" y="3180"/>
              </a:cxn>
              <a:cxn ang="0">
                <a:pos x="288" y="3440"/>
              </a:cxn>
              <a:cxn ang="0">
                <a:pos x="386" y="3694"/>
              </a:cxn>
              <a:cxn ang="0">
                <a:pos x="426" y="3784"/>
              </a:cxn>
              <a:cxn ang="0">
                <a:pos x="446" y="3794"/>
              </a:cxn>
              <a:cxn ang="0">
                <a:pos x="1836" y="3794"/>
              </a:cxn>
              <a:cxn ang="0">
                <a:pos x="1858" y="3786"/>
              </a:cxn>
              <a:cxn ang="0">
                <a:pos x="1956" y="3724"/>
              </a:cxn>
              <a:cxn ang="0">
                <a:pos x="2128" y="3640"/>
              </a:cxn>
              <a:cxn ang="0">
                <a:pos x="2278" y="3582"/>
              </a:cxn>
              <a:cxn ang="0">
                <a:pos x="2506" y="3514"/>
              </a:cxn>
              <a:cxn ang="0">
                <a:pos x="2740" y="3460"/>
              </a:cxn>
              <a:cxn ang="0">
                <a:pos x="3280" y="3344"/>
              </a:cxn>
              <a:cxn ang="0">
                <a:pos x="3608" y="3262"/>
              </a:cxn>
              <a:cxn ang="0">
                <a:pos x="3828" y="3196"/>
              </a:cxn>
              <a:cxn ang="0">
                <a:pos x="4044" y="3116"/>
              </a:cxn>
              <a:cxn ang="0">
                <a:pos x="4058" y="3106"/>
              </a:cxn>
              <a:cxn ang="0">
                <a:pos x="4062" y="3088"/>
              </a:cxn>
            </a:cxnLst>
            <a:rect l="0" t="0" r="r" b="b"/>
            <a:pathLst>
              <a:path w="4062" h="3794">
                <a:moveTo>
                  <a:pt x="4062" y="1608"/>
                </a:moveTo>
                <a:lnTo>
                  <a:pt x="4062" y="1608"/>
                </a:lnTo>
                <a:lnTo>
                  <a:pt x="4062" y="1126"/>
                </a:lnTo>
                <a:lnTo>
                  <a:pt x="4062" y="1126"/>
                </a:lnTo>
                <a:lnTo>
                  <a:pt x="4062" y="128"/>
                </a:lnTo>
                <a:lnTo>
                  <a:pt x="4062" y="128"/>
                </a:lnTo>
                <a:lnTo>
                  <a:pt x="4062" y="122"/>
                </a:lnTo>
                <a:lnTo>
                  <a:pt x="4060" y="114"/>
                </a:lnTo>
                <a:lnTo>
                  <a:pt x="4056" y="110"/>
                </a:lnTo>
                <a:lnTo>
                  <a:pt x="4050" y="106"/>
                </a:lnTo>
                <a:lnTo>
                  <a:pt x="4050" y="106"/>
                </a:lnTo>
                <a:lnTo>
                  <a:pt x="3996" y="88"/>
                </a:lnTo>
                <a:lnTo>
                  <a:pt x="3944" y="72"/>
                </a:lnTo>
                <a:lnTo>
                  <a:pt x="3892" y="58"/>
                </a:lnTo>
                <a:lnTo>
                  <a:pt x="3838" y="44"/>
                </a:lnTo>
                <a:lnTo>
                  <a:pt x="3786" y="34"/>
                </a:lnTo>
                <a:lnTo>
                  <a:pt x="3732" y="24"/>
                </a:lnTo>
                <a:lnTo>
                  <a:pt x="3678" y="16"/>
                </a:lnTo>
                <a:lnTo>
                  <a:pt x="3626" y="10"/>
                </a:lnTo>
                <a:lnTo>
                  <a:pt x="3572" y="4"/>
                </a:lnTo>
                <a:lnTo>
                  <a:pt x="3518" y="2"/>
                </a:lnTo>
                <a:lnTo>
                  <a:pt x="3464" y="0"/>
                </a:lnTo>
                <a:lnTo>
                  <a:pt x="3410" y="0"/>
                </a:lnTo>
                <a:lnTo>
                  <a:pt x="3356" y="2"/>
                </a:lnTo>
                <a:lnTo>
                  <a:pt x="3300" y="4"/>
                </a:lnTo>
                <a:lnTo>
                  <a:pt x="3246" y="10"/>
                </a:lnTo>
                <a:lnTo>
                  <a:pt x="3190" y="16"/>
                </a:lnTo>
                <a:lnTo>
                  <a:pt x="3190" y="16"/>
                </a:lnTo>
                <a:lnTo>
                  <a:pt x="3098" y="30"/>
                </a:lnTo>
                <a:lnTo>
                  <a:pt x="3006" y="50"/>
                </a:lnTo>
                <a:lnTo>
                  <a:pt x="2916" y="72"/>
                </a:lnTo>
                <a:lnTo>
                  <a:pt x="2826" y="98"/>
                </a:lnTo>
                <a:lnTo>
                  <a:pt x="2738" y="128"/>
                </a:lnTo>
                <a:lnTo>
                  <a:pt x="2650" y="160"/>
                </a:lnTo>
                <a:lnTo>
                  <a:pt x="2564" y="196"/>
                </a:lnTo>
                <a:lnTo>
                  <a:pt x="2478" y="234"/>
                </a:lnTo>
                <a:lnTo>
                  <a:pt x="2478" y="234"/>
                </a:lnTo>
                <a:lnTo>
                  <a:pt x="2396" y="274"/>
                </a:lnTo>
                <a:lnTo>
                  <a:pt x="2316" y="316"/>
                </a:lnTo>
                <a:lnTo>
                  <a:pt x="2236" y="360"/>
                </a:lnTo>
                <a:lnTo>
                  <a:pt x="2158" y="406"/>
                </a:lnTo>
                <a:lnTo>
                  <a:pt x="2080" y="452"/>
                </a:lnTo>
                <a:lnTo>
                  <a:pt x="2002" y="500"/>
                </a:lnTo>
                <a:lnTo>
                  <a:pt x="1926" y="550"/>
                </a:lnTo>
                <a:lnTo>
                  <a:pt x="1852" y="602"/>
                </a:lnTo>
                <a:lnTo>
                  <a:pt x="1852" y="602"/>
                </a:lnTo>
                <a:lnTo>
                  <a:pt x="1758" y="666"/>
                </a:lnTo>
                <a:lnTo>
                  <a:pt x="1668" y="732"/>
                </a:lnTo>
                <a:lnTo>
                  <a:pt x="1576" y="798"/>
                </a:lnTo>
                <a:lnTo>
                  <a:pt x="1488" y="866"/>
                </a:lnTo>
                <a:lnTo>
                  <a:pt x="1308" y="1006"/>
                </a:lnTo>
                <a:lnTo>
                  <a:pt x="1132" y="1146"/>
                </a:lnTo>
                <a:lnTo>
                  <a:pt x="1132" y="1146"/>
                </a:lnTo>
                <a:lnTo>
                  <a:pt x="966" y="1278"/>
                </a:lnTo>
                <a:lnTo>
                  <a:pt x="800" y="1408"/>
                </a:lnTo>
                <a:lnTo>
                  <a:pt x="716" y="1472"/>
                </a:lnTo>
                <a:lnTo>
                  <a:pt x="630" y="1536"/>
                </a:lnTo>
                <a:lnTo>
                  <a:pt x="544" y="1598"/>
                </a:lnTo>
                <a:lnTo>
                  <a:pt x="458" y="1658"/>
                </a:lnTo>
                <a:lnTo>
                  <a:pt x="458" y="1658"/>
                </a:lnTo>
                <a:lnTo>
                  <a:pt x="356" y="1724"/>
                </a:lnTo>
                <a:lnTo>
                  <a:pt x="304" y="1756"/>
                </a:lnTo>
                <a:lnTo>
                  <a:pt x="252" y="1786"/>
                </a:lnTo>
                <a:lnTo>
                  <a:pt x="200" y="1816"/>
                </a:lnTo>
                <a:lnTo>
                  <a:pt x="146" y="1842"/>
                </a:lnTo>
                <a:lnTo>
                  <a:pt x="90" y="1868"/>
                </a:lnTo>
                <a:lnTo>
                  <a:pt x="34" y="1892"/>
                </a:lnTo>
                <a:lnTo>
                  <a:pt x="34" y="1892"/>
                </a:lnTo>
                <a:lnTo>
                  <a:pt x="20" y="1898"/>
                </a:lnTo>
                <a:lnTo>
                  <a:pt x="6" y="1904"/>
                </a:lnTo>
                <a:lnTo>
                  <a:pt x="6" y="1904"/>
                </a:lnTo>
                <a:lnTo>
                  <a:pt x="2" y="1906"/>
                </a:lnTo>
                <a:lnTo>
                  <a:pt x="0" y="1910"/>
                </a:lnTo>
                <a:lnTo>
                  <a:pt x="0" y="1914"/>
                </a:lnTo>
                <a:lnTo>
                  <a:pt x="2" y="1918"/>
                </a:lnTo>
                <a:lnTo>
                  <a:pt x="6" y="1924"/>
                </a:lnTo>
                <a:lnTo>
                  <a:pt x="8" y="1932"/>
                </a:lnTo>
                <a:lnTo>
                  <a:pt x="8" y="1932"/>
                </a:lnTo>
                <a:lnTo>
                  <a:pt x="12" y="2038"/>
                </a:lnTo>
                <a:lnTo>
                  <a:pt x="20" y="2142"/>
                </a:lnTo>
                <a:lnTo>
                  <a:pt x="30" y="2248"/>
                </a:lnTo>
                <a:lnTo>
                  <a:pt x="42" y="2352"/>
                </a:lnTo>
                <a:lnTo>
                  <a:pt x="42" y="2352"/>
                </a:lnTo>
                <a:lnTo>
                  <a:pt x="54" y="2446"/>
                </a:lnTo>
                <a:lnTo>
                  <a:pt x="66" y="2540"/>
                </a:lnTo>
                <a:lnTo>
                  <a:pt x="82" y="2632"/>
                </a:lnTo>
                <a:lnTo>
                  <a:pt x="98" y="2724"/>
                </a:lnTo>
                <a:lnTo>
                  <a:pt x="116" y="2818"/>
                </a:lnTo>
                <a:lnTo>
                  <a:pt x="136" y="2910"/>
                </a:lnTo>
                <a:lnTo>
                  <a:pt x="158" y="3002"/>
                </a:lnTo>
                <a:lnTo>
                  <a:pt x="180" y="3092"/>
                </a:lnTo>
                <a:lnTo>
                  <a:pt x="180" y="3092"/>
                </a:lnTo>
                <a:lnTo>
                  <a:pt x="204" y="3180"/>
                </a:lnTo>
                <a:lnTo>
                  <a:pt x="230" y="3268"/>
                </a:lnTo>
                <a:lnTo>
                  <a:pt x="258" y="3354"/>
                </a:lnTo>
                <a:lnTo>
                  <a:pt x="288" y="3440"/>
                </a:lnTo>
                <a:lnTo>
                  <a:pt x="318" y="3524"/>
                </a:lnTo>
                <a:lnTo>
                  <a:pt x="352" y="3610"/>
                </a:lnTo>
                <a:lnTo>
                  <a:pt x="386" y="3694"/>
                </a:lnTo>
                <a:lnTo>
                  <a:pt x="422" y="3776"/>
                </a:lnTo>
                <a:lnTo>
                  <a:pt x="422" y="3776"/>
                </a:lnTo>
                <a:lnTo>
                  <a:pt x="426" y="3784"/>
                </a:lnTo>
                <a:lnTo>
                  <a:pt x="430" y="3790"/>
                </a:lnTo>
                <a:lnTo>
                  <a:pt x="436" y="3792"/>
                </a:lnTo>
                <a:lnTo>
                  <a:pt x="446" y="3794"/>
                </a:lnTo>
                <a:lnTo>
                  <a:pt x="446" y="3794"/>
                </a:lnTo>
                <a:lnTo>
                  <a:pt x="1836" y="3794"/>
                </a:lnTo>
                <a:lnTo>
                  <a:pt x="1836" y="3794"/>
                </a:lnTo>
                <a:lnTo>
                  <a:pt x="1848" y="3792"/>
                </a:lnTo>
                <a:lnTo>
                  <a:pt x="1858" y="3786"/>
                </a:lnTo>
                <a:lnTo>
                  <a:pt x="1858" y="3786"/>
                </a:lnTo>
                <a:lnTo>
                  <a:pt x="1890" y="3764"/>
                </a:lnTo>
                <a:lnTo>
                  <a:pt x="1922" y="3744"/>
                </a:lnTo>
                <a:lnTo>
                  <a:pt x="1956" y="3724"/>
                </a:lnTo>
                <a:lnTo>
                  <a:pt x="1988" y="3704"/>
                </a:lnTo>
                <a:lnTo>
                  <a:pt x="2058" y="3670"/>
                </a:lnTo>
                <a:lnTo>
                  <a:pt x="2128" y="3640"/>
                </a:lnTo>
                <a:lnTo>
                  <a:pt x="2128" y="3640"/>
                </a:lnTo>
                <a:lnTo>
                  <a:pt x="2202" y="3610"/>
                </a:lnTo>
                <a:lnTo>
                  <a:pt x="2278" y="3582"/>
                </a:lnTo>
                <a:lnTo>
                  <a:pt x="2354" y="3558"/>
                </a:lnTo>
                <a:lnTo>
                  <a:pt x="2430" y="3536"/>
                </a:lnTo>
                <a:lnTo>
                  <a:pt x="2506" y="3514"/>
                </a:lnTo>
                <a:lnTo>
                  <a:pt x="2584" y="3496"/>
                </a:lnTo>
                <a:lnTo>
                  <a:pt x="2740" y="3460"/>
                </a:lnTo>
                <a:lnTo>
                  <a:pt x="2740" y="3460"/>
                </a:lnTo>
                <a:lnTo>
                  <a:pt x="2920" y="3420"/>
                </a:lnTo>
                <a:lnTo>
                  <a:pt x="3100" y="3382"/>
                </a:lnTo>
                <a:lnTo>
                  <a:pt x="3280" y="3344"/>
                </a:lnTo>
                <a:lnTo>
                  <a:pt x="3460" y="3302"/>
                </a:lnTo>
                <a:lnTo>
                  <a:pt x="3460" y="3302"/>
                </a:lnTo>
                <a:lnTo>
                  <a:pt x="3608" y="3262"/>
                </a:lnTo>
                <a:lnTo>
                  <a:pt x="3682" y="3242"/>
                </a:lnTo>
                <a:lnTo>
                  <a:pt x="3756" y="3220"/>
                </a:lnTo>
                <a:lnTo>
                  <a:pt x="3828" y="3196"/>
                </a:lnTo>
                <a:lnTo>
                  <a:pt x="3900" y="3172"/>
                </a:lnTo>
                <a:lnTo>
                  <a:pt x="3972" y="3144"/>
                </a:lnTo>
                <a:lnTo>
                  <a:pt x="4044" y="3116"/>
                </a:lnTo>
                <a:lnTo>
                  <a:pt x="4044" y="3116"/>
                </a:lnTo>
                <a:lnTo>
                  <a:pt x="4052" y="3112"/>
                </a:lnTo>
                <a:lnTo>
                  <a:pt x="4058" y="3106"/>
                </a:lnTo>
                <a:lnTo>
                  <a:pt x="4062" y="3098"/>
                </a:lnTo>
                <a:lnTo>
                  <a:pt x="4062" y="3088"/>
                </a:lnTo>
                <a:lnTo>
                  <a:pt x="4062" y="3088"/>
                </a:lnTo>
                <a:lnTo>
                  <a:pt x="4062" y="1608"/>
                </a:lnTo>
                <a:lnTo>
                  <a:pt x="4062" y="1608"/>
                </a:lnTo>
                <a:close/>
              </a:path>
            </a:pathLst>
          </a:custGeom>
          <a:solidFill>
            <a:srgbClr val="FE304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Picture Placeholder 11">
            <a:extLst>
              <a:ext uri="{FF2B5EF4-FFF2-40B4-BE49-F238E27FC236}">
                <a16:creationId xmlns=""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sp>
        <p:nvSpPr>
          <p:cNvPr id="6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662294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insert se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="" xmlns:p14="http://schemas.microsoft.com/office/powerpoint/2010/main" val="28095455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3736" name="think-cell Slide" r:id="rId4" imgW="360" imgH="360" progId="">
              <p:embed/>
            </p:oleObj>
          </a:graphicData>
        </a:graphic>
      </p:graphicFrame>
      <p:sp>
        <p:nvSpPr>
          <p:cNvPr id="15366" name="Freeform 6"/>
          <p:cNvSpPr>
            <a:spLocks/>
          </p:cNvSpPr>
          <p:nvPr userDrawn="1"/>
        </p:nvSpPr>
        <p:spPr bwMode="auto">
          <a:xfrm>
            <a:off x="0" y="0"/>
            <a:ext cx="7651750" cy="6858000"/>
          </a:xfrm>
          <a:custGeom>
            <a:avLst/>
            <a:gdLst/>
            <a:ahLst/>
            <a:cxnLst>
              <a:cxn ang="0">
                <a:pos x="0" y="4320"/>
              </a:cxn>
              <a:cxn ang="0">
                <a:pos x="0" y="18"/>
              </a:cxn>
              <a:cxn ang="0">
                <a:pos x="2" y="4"/>
              </a:cxn>
              <a:cxn ang="0">
                <a:pos x="18" y="0"/>
              </a:cxn>
              <a:cxn ang="0">
                <a:pos x="4802" y="0"/>
              </a:cxn>
              <a:cxn ang="0">
                <a:pos x="4812" y="0"/>
              </a:cxn>
              <a:cxn ang="0">
                <a:pos x="4820" y="8"/>
              </a:cxn>
              <a:cxn ang="0">
                <a:pos x="4820" y="18"/>
              </a:cxn>
              <a:cxn ang="0">
                <a:pos x="4820" y="50"/>
              </a:cxn>
              <a:cxn ang="0">
                <a:pos x="4816" y="52"/>
              </a:cxn>
              <a:cxn ang="0">
                <a:pos x="4816" y="64"/>
              </a:cxn>
              <a:cxn ang="0">
                <a:pos x="4808" y="138"/>
              </a:cxn>
              <a:cxn ang="0">
                <a:pos x="4800" y="200"/>
              </a:cxn>
              <a:cxn ang="0">
                <a:pos x="4776" y="318"/>
              </a:cxn>
              <a:cxn ang="0">
                <a:pos x="4744" y="434"/>
              </a:cxn>
              <a:cxn ang="0">
                <a:pos x="4704" y="544"/>
              </a:cxn>
              <a:cxn ang="0">
                <a:pos x="4654" y="652"/>
              </a:cxn>
              <a:cxn ang="0">
                <a:pos x="4594" y="754"/>
              </a:cxn>
              <a:cxn ang="0">
                <a:pos x="4528" y="852"/>
              </a:cxn>
              <a:cxn ang="0">
                <a:pos x="4452" y="948"/>
              </a:cxn>
              <a:cxn ang="0">
                <a:pos x="4410" y="994"/>
              </a:cxn>
              <a:cxn ang="0">
                <a:pos x="4342" y="1064"/>
              </a:cxn>
              <a:cxn ang="0">
                <a:pos x="4270" y="1130"/>
              </a:cxn>
              <a:cxn ang="0">
                <a:pos x="4118" y="1252"/>
              </a:cxn>
              <a:cxn ang="0">
                <a:pos x="3956" y="1360"/>
              </a:cxn>
              <a:cxn ang="0">
                <a:pos x="3786" y="1458"/>
              </a:cxn>
              <a:cxn ang="0">
                <a:pos x="3724" y="1488"/>
              </a:cxn>
              <a:cxn ang="0">
                <a:pos x="3542" y="1574"/>
              </a:cxn>
              <a:cxn ang="0">
                <a:pos x="3294" y="1678"/>
              </a:cxn>
              <a:cxn ang="0">
                <a:pos x="3028" y="1790"/>
              </a:cxn>
              <a:cxn ang="0">
                <a:pos x="2498" y="2020"/>
              </a:cxn>
              <a:cxn ang="0">
                <a:pos x="2238" y="2142"/>
              </a:cxn>
              <a:cxn ang="0">
                <a:pos x="2054" y="2232"/>
              </a:cxn>
              <a:cxn ang="0">
                <a:pos x="1872" y="2326"/>
              </a:cxn>
              <a:cxn ang="0">
                <a:pos x="1696" y="2428"/>
              </a:cxn>
              <a:cxn ang="0">
                <a:pos x="1522" y="2538"/>
              </a:cxn>
              <a:cxn ang="0">
                <a:pos x="1464" y="2578"/>
              </a:cxn>
              <a:cxn ang="0">
                <a:pos x="1350" y="2664"/>
              </a:cxn>
              <a:cxn ang="0">
                <a:pos x="1242" y="2758"/>
              </a:cxn>
              <a:cxn ang="0">
                <a:pos x="1142" y="2860"/>
              </a:cxn>
              <a:cxn ang="0">
                <a:pos x="1096" y="2916"/>
              </a:cxn>
              <a:cxn ang="0">
                <a:pos x="1030" y="3008"/>
              </a:cxn>
              <a:cxn ang="0">
                <a:pos x="976" y="3102"/>
              </a:cxn>
              <a:cxn ang="0">
                <a:pos x="934" y="3200"/>
              </a:cxn>
              <a:cxn ang="0">
                <a:pos x="904" y="3302"/>
              </a:cxn>
              <a:cxn ang="0">
                <a:pos x="884" y="3404"/>
              </a:cxn>
              <a:cxn ang="0">
                <a:pos x="878" y="3512"/>
              </a:cxn>
              <a:cxn ang="0">
                <a:pos x="884" y="3620"/>
              </a:cxn>
              <a:cxn ang="0">
                <a:pos x="900" y="3732"/>
              </a:cxn>
              <a:cxn ang="0">
                <a:pos x="914" y="3788"/>
              </a:cxn>
              <a:cxn ang="0">
                <a:pos x="944" y="3898"/>
              </a:cxn>
              <a:cxn ang="0">
                <a:pos x="982" y="4004"/>
              </a:cxn>
              <a:cxn ang="0">
                <a:pos x="1028" y="4108"/>
              </a:cxn>
              <a:cxn ang="0">
                <a:pos x="1052" y="4160"/>
              </a:cxn>
              <a:cxn ang="0">
                <a:pos x="1126" y="4302"/>
              </a:cxn>
              <a:cxn ang="0">
                <a:pos x="1130" y="4312"/>
              </a:cxn>
              <a:cxn ang="0">
                <a:pos x="1130" y="4318"/>
              </a:cxn>
              <a:cxn ang="0">
                <a:pos x="1116" y="4320"/>
              </a:cxn>
              <a:cxn ang="0">
                <a:pos x="1100" y="4320"/>
              </a:cxn>
              <a:cxn ang="0">
                <a:pos x="0" y="4320"/>
              </a:cxn>
            </a:cxnLst>
            <a:rect l="0" t="0" r="r" b="b"/>
            <a:pathLst>
              <a:path w="4820" h="4320">
                <a:moveTo>
                  <a:pt x="0" y="4320"/>
                </a:moveTo>
                <a:lnTo>
                  <a:pt x="0" y="4320"/>
                </a:lnTo>
                <a:lnTo>
                  <a:pt x="0" y="18"/>
                </a:lnTo>
                <a:lnTo>
                  <a:pt x="0" y="18"/>
                </a:lnTo>
                <a:lnTo>
                  <a:pt x="0" y="8"/>
                </a:lnTo>
                <a:lnTo>
                  <a:pt x="2" y="4"/>
                </a:lnTo>
                <a:lnTo>
                  <a:pt x="8" y="0"/>
                </a:lnTo>
                <a:lnTo>
                  <a:pt x="18" y="0"/>
                </a:lnTo>
                <a:lnTo>
                  <a:pt x="18" y="0"/>
                </a:lnTo>
                <a:lnTo>
                  <a:pt x="4802" y="0"/>
                </a:lnTo>
                <a:lnTo>
                  <a:pt x="4802" y="0"/>
                </a:lnTo>
                <a:lnTo>
                  <a:pt x="4812" y="0"/>
                </a:lnTo>
                <a:lnTo>
                  <a:pt x="4818" y="4"/>
                </a:lnTo>
                <a:lnTo>
                  <a:pt x="4820" y="8"/>
                </a:lnTo>
                <a:lnTo>
                  <a:pt x="4820" y="18"/>
                </a:lnTo>
                <a:lnTo>
                  <a:pt x="4820" y="18"/>
                </a:lnTo>
                <a:lnTo>
                  <a:pt x="4820" y="34"/>
                </a:lnTo>
                <a:lnTo>
                  <a:pt x="4820" y="50"/>
                </a:lnTo>
                <a:lnTo>
                  <a:pt x="4820" y="50"/>
                </a:lnTo>
                <a:lnTo>
                  <a:pt x="4816" y="52"/>
                </a:lnTo>
                <a:lnTo>
                  <a:pt x="4816" y="56"/>
                </a:lnTo>
                <a:lnTo>
                  <a:pt x="4816" y="64"/>
                </a:lnTo>
                <a:lnTo>
                  <a:pt x="4816" y="64"/>
                </a:lnTo>
                <a:lnTo>
                  <a:pt x="4808" y="138"/>
                </a:lnTo>
                <a:lnTo>
                  <a:pt x="4808" y="138"/>
                </a:lnTo>
                <a:lnTo>
                  <a:pt x="4800" y="200"/>
                </a:lnTo>
                <a:lnTo>
                  <a:pt x="4790" y="260"/>
                </a:lnTo>
                <a:lnTo>
                  <a:pt x="4776" y="318"/>
                </a:lnTo>
                <a:lnTo>
                  <a:pt x="4762" y="376"/>
                </a:lnTo>
                <a:lnTo>
                  <a:pt x="4744" y="434"/>
                </a:lnTo>
                <a:lnTo>
                  <a:pt x="4726" y="490"/>
                </a:lnTo>
                <a:lnTo>
                  <a:pt x="4704" y="544"/>
                </a:lnTo>
                <a:lnTo>
                  <a:pt x="4680" y="598"/>
                </a:lnTo>
                <a:lnTo>
                  <a:pt x="4654" y="652"/>
                </a:lnTo>
                <a:lnTo>
                  <a:pt x="4626" y="704"/>
                </a:lnTo>
                <a:lnTo>
                  <a:pt x="4594" y="754"/>
                </a:lnTo>
                <a:lnTo>
                  <a:pt x="4562" y="804"/>
                </a:lnTo>
                <a:lnTo>
                  <a:pt x="4528" y="852"/>
                </a:lnTo>
                <a:lnTo>
                  <a:pt x="4490" y="900"/>
                </a:lnTo>
                <a:lnTo>
                  <a:pt x="4452" y="948"/>
                </a:lnTo>
                <a:lnTo>
                  <a:pt x="4410" y="994"/>
                </a:lnTo>
                <a:lnTo>
                  <a:pt x="4410" y="994"/>
                </a:lnTo>
                <a:lnTo>
                  <a:pt x="4376" y="1030"/>
                </a:lnTo>
                <a:lnTo>
                  <a:pt x="4342" y="1064"/>
                </a:lnTo>
                <a:lnTo>
                  <a:pt x="4306" y="1098"/>
                </a:lnTo>
                <a:lnTo>
                  <a:pt x="4270" y="1130"/>
                </a:lnTo>
                <a:lnTo>
                  <a:pt x="4196" y="1194"/>
                </a:lnTo>
                <a:lnTo>
                  <a:pt x="4118" y="1252"/>
                </a:lnTo>
                <a:lnTo>
                  <a:pt x="4038" y="1308"/>
                </a:lnTo>
                <a:lnTo>
                  <a:pt x="3956" y="1360"/>
                </a:lnTo>
                <a:lnTo>
                  <a:pt x="3872" y="1410"/>
                </a:lnTo>
                <a:lnTo>
                  <a:pt x="3786" y="1458"/>
                </a:lnTo>
                <a:lnTo>
                  <a:pt x="3786" y="1458"/>
                </a:lnTo>
                <a:lnTo>
                  <a:pt x="3724" y="1488"/>
                </a:lnTo>
                <a:lnTo>
                  <a:pt x="3664" y="1518"/>
                </a:lnTo>
                <a:lnTo>
                  <a:pt x="3542" y="1574"/>
                </a:lnTo>
                <a:lnTo>
                  <a:pt x="3418" y="1626"/>
                </a:lnTo>
                <a:lnTo>
                  <a:pt x="3294" y="1678"/>
                </a:lnTo>
                <a:lnTo>
                  <a:pt x="3294" y="1678"/>
                </a:lnTo>
                <a:lnTo>
                  <a:pt x="3028" y="1790"/>
                </a:lnTo>
                <a:lnTo>
                  <a:pt x="2762" y="1904"/>
                </a:lnTo>
                <a:lnTo>
                  <a:pt x="2498" y="2020"/>
                </a:lnTo>
                <a:lnTo>
                  <a:pt x="2368" y="2080"/>
                </a:lnTo>
                <a:lnTo>
                  <a:pt x="2238" y="2142"/>
                </a:lnTo>
                <a:lnTo>
                  <a:pt x="2238" y="2142"/>
                </a:lnTo>
                <a:lnTo>
                  <a:pt x="2054" y="2232"/>
                </a:lnTo>
                <a:lnTo>
                  <a:pt x="1962" y="2278"/>
                </a:lnTo>
                <a:lnTo>
                  <a:pt x="1872" y="2326"/>
                </a:lnTo>
                <a:lnTo>
                  <a:pt x="1784" y="2376"/>
                </a:lnTo>
                <a:lnTo>
                  <a:pt x="1696" y="2428"/>
                </a:lnTo>
                <a:lnTo>
                  <a:pt x="1608" y="2482"/>
                </a:lnTo>
                <a:lnTo>
                  <a:pt x="1522" y="2538"/>
                </a:lnTo>
                <a:lnTo>
                  <a:pt x="1522" y="2538"/>
                </a:lnTo>
                <a:lnTo>
                  <a:pt x="1464" y="2578"/>
                </a:lnTo>
                <a:lnTo>
                  <a:pt x="1406" y="2620"/>
                </a:lnTo>
                <a:lnTo>
                  <a:pt x="1350" y="2664"/>
                </a:lnTo>
                <a:lnTo>
                  <a:pt x="1296" y="2710"/>
                </a:lnTo>
                <a:lnTo>
                  <a:pt x="1242" y="2758"/>
                </a:lnTo>
                <a:lnTo>
                  <a:pt x="1192" y="2808"/>
                </a:lnTo>
                <a:lnTo>
                  <a:pt x="1142" y="2860"/>
                </a:lnTo>
                <a:lnTo>
                  <a:pt x="1096" y="2916"/>
                </a:lnTo>
                <a:lnTo>
                  <a:pt x="1096" y="2916"/>
                </a:lnTo>
                <a:lnTo>
                  <a:pt x="1062" y="2962"/>
                </a:lnTo>
                <a:lnTo>
                  <a:pt x="1030" y="3008"/>
                </a:lnTo>
                <a:lnTo>
                  <a:pt x="1002" y="3054"/>
                </a:lnTo>
                <a:lnTo>
                  <a:pt x="976" y="3102"/>
                </a:lnTo>
                <a:lnTo>
                  <a:pt x="952" y="3152"/>
                </a:lnTo>
                <a:lnTo>
                  <a:pt x="934" y="3200"/>
                </a:lnTo>
                <a:lnTo>
                  <a:pt x="916" y="3250"/>
                </a:lnTo>
                <a:lnTo>
                  <a:pt x="904" y="3302"/>
                </a:lnTo>
                <a:lnTo>
                  <a:pt x="892" y="3352"/>
                </a:lnTo>
                <a:lnTo>
                  <a:pt x="884" y="3404"/>
                </a:lnTo>
                <a:lnTo>
                  <a:pt x="880" y="3458"/>
                </a:lnTo>
                <a:lnTo>
                  <a:pt x="878" y="3512"/>
                </a:lnTo>
                <a:lnTo>
                  <a:pt x="880" y="3566"/>
                </a:lnTo>
                <a:lnTo>
                  <a:pt x="884" y="3620"/>
                </a:lnTo>
                <a:lnTo>
                  <a:pt x="890" y="3676"/>
                </a:lnTo>
                <a:lnTo>
                  <a:pt x="900" y="3732"/>
                </a:lnTo>
                <a:lnTo>
                  <a:pt x="900" y="3732"/>
                </a:lnTo>
                <a:lnTo>
                  <a:pt x="914" y="3788"/>
                </a:lnTo>
                <a:lnTo>
                  <a:pt x="928" y="3844"/>
                </a:lnTo>
                <a:lnTo>
                  <a:pt x="944" y="3898"/>
                </a:lnTo>
                <a:lnTo>
                  <a:pt x="962" y="3952"/>
                </a:lnTo>
                <a:lnTo>
                  <a:pt x="982" y="4004"/>
                </a:lnTo>
                <a:lnTo>
                  <a:pt x="1004" y="4056"/>
                </a:lnTo>
                <a:lnTo>
                  <a:pt x="1028" y="4108"/>
                </a:lnTo>
                <a:lnTo>
                  <a:pt x="1052" y="4160"/>
                </a:lnTo>
                <a:lnTo>
                  <a:pt x="1052" y="4160"/>
                </a:lnTo>
                <a:lnTo>
                  <a:pt x="1088" y="4232"/>
                </a:lnTo>
                <a:lnTo>
                  <a:pt x="1126" y="4302"/>
                </a:lnTo>
                <a:lnTo>
                  <a:pt x="1126" y="4302"/>
                </a:lnTo>
                <a:lnTo>
                  <a:pt x="1130" y="4312"/>
                </a:lnTo>
                <a:lnTo>
                  <a:pt x="1132" y="4316"/>
                </a:lnTo>
                <a:lnTo>
                  <a:pt x="1130" y="4318"/>
                </a:lnTo>
                <a:lnTo>
                  <a:pt x="1126" y="4320"/>
                </a:lnTo>
                <a:lnTo>
                  <a:pt x="1116" y="4320"/>
                </a:lnTo>
                <a:lnTo>
                  <a:pt x="1116" y="4320"/>
                </a:lnTo>
                <a:lnTo>
                  <a:pt x="1100" y="4320"/>
                </a:lnTo>
                <a:lnTo>
                  <a:pt x="1100" y="4320"/>
                </a:lnTo>
                <a:lnTo>
                  <a:pt x="0" y="4320"/>
                </a:lnTo>
                <a:lnTo>
                  <a:pt x="0" y="4320"/>
                </a:lnTo>
                <a:close/>
              </a:path>
            </a:pathLst>
          </a:custGeom>
          <a:solidFill>
            <a:srgbClr val="12AAD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Picture Placeholder 11">
            <a:extLst>
              <a:ext uri="{FF2B5EF4-FFF2-40B4-BE49-F238E27FC236}">
                <a16:creationId xmlns=""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73300" y="0"/>
            <a:ext cx="99187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434513"/>
            <a:ext cx="5419268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insert section titl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="" xmlns:p14="http://schemas.microsoft.com/office/powerpoint/2010/main" val="4127604316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27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476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7454716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2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8534889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2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6430162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2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7827823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2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8191638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22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3294129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22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7367393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22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606431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2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8780561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10/2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4994213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2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8579290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2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8686831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6808" name="think-cell Slide" r:id="rId4" imgW="360" imgH="360" progId="">
              <p:embed/>
            </p:oleObj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=""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8856" name="think-cell Slide" r:id="rId4" imgW="360" imgH="360" progId="">
              <p:embed/>
            </p:oleObj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=""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9880" name="think-cell Slide" r:id="rId4" imgW="360" imgH="360" progId="">
              <p:embed/>
            </p:oleObj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=""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="" xmlns:p14="http://schemas.microsoft.com/office/powerpoint/2010/main" val="4040528548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257" userDrawn="1">
          <p15:clr>
            <a:srgbClr val="FBAE40"/>
          </p15:clr>
        </p15:guide>
        <p15:guide id="2" orient="horz" pos="935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2552" name="think-cell Slide" r:id="rId4" imgW="360" imgH="360" progId="">
              <p:embed/>
            </p:oleObj>
          </a:graphicData>
        </a:graphic>
      </p:graphicFrame>
      <p:sp>
        <p:nvSpPr>
          <p:cNvPr id="15366" name="Freeform 6"/>
          <p:cNvSpPr>
            <a:spLocks/>
          </p:cNvSpPr>
          <p:nvPr userDrawn="1"/>
        </p:nvSpPr>
        <p:spPr bwMode="auto">
          <a:xfrm>
            <a:off x="0" y="0"/>
            <a:ext cx="7651750" cy="6858000"/>
          </a:xfrm>
          <a:custGeom>
            <a:avLst/>
            <a:gdLst/>
            <a:ahLst/>
            <a:cxnLst>
              <a:cxn ang="0">
                <a:pos x="0" y="4320"/>
              </a:cxn>
              <a:cxn ang="0">
                <a:pos x="0" y="18"/>
              </a:cxn>
              <a:cxn ang="0">
                <a:pos x="2" y="4"/>
              </a:cxn>
              <a:cxn ang="0">
                <a:pos x="18" y="0"/>
              </a:cxn>
              <a:cxn ang="0">
                <a:pos x="4802" y="0"/>
              </a:cxn>
              <a:cxn ang="0">
                <a:pos x="4812" y="0"/>
              </a:cxn>
              <a:cxn ang="0">
                <a:pos x="4820" y="8"/>
              </a:cxn>
              <a:cxn ang="0">
                <a:pos x="4820" y="18"/>
              </a:cxn>
              <a:cxn ang="0">
                <a:pos x="4820" y="50"/>
              </a:cxn>
              <a:cxn ang="0">
                <a:pos x="4816" y="52"/>
              </a:cxn>
              <a:cxn ang="0">
                <a:pos x="4816" y="64"/>
              </a:cxn>
              <a:cxn ang="0">
                <a:pos x="4808" y="138"/>
              </a:cxn>
              <a:cxn ang="0">
                <a:pos x="4800" y="200"/>
              </a:cxn>
              <a:cxn ang="0">
                <a:pos x="4776" y="318"/>
              </a:cxn>
              <a:cxn ang="0">
                <a:pos x="4744" y="434"/>
              </a:cxn>
              <a:cxn ang="0">
                <a:pos x="4704" y="544"/>
              </a:cxn>
              <a:cxn ang="0">
                <a:pos x="4654" y="652"/>
              </a:cxn>
              <a:cxn ang="0">
                <a:pos x="4594" y="754"/>
              </a:cxn>
              <a:cxn ang="0">
                <a:pos x="4528" y="852"/>
              </a:cxn>
              <a:cxn ang="0">
                <a:pos x="4452" y="948"/>
              </a:cxn>
              <a:cxn ang="0">
                <a:pos x="4410" y="994"/>
              </a:cxn>
              <a:cxn ang="0">
                <a:pos x="4342" y="1064"/>
              </a:cxn>
              <a:cxn ang="0">
                <a:pos x="4270" y="1130"/>
              </a:cxn>
              <a:cxn ang="0">
                <a:pos x="4118" y="1252"/>
              </a:cxn>
              <a:cxn ang="0">
                <a:pos x="3956" y="1360"/>
              </a:cxn>
              <a:cxn ang="0">
                <a:pos x="3786" y="1458"/>
              </a:cxn>
              <a:cxn ang="0">
                <a:pos x="3724" y="1488"/>
              </a:cxn>
              <a:cxn ang="0">
                <a:pos x="3542" y="1574"/>
              </a:cxn>
              <a:cxn ang="0">
                <a:pos x="3294" y="1678"/>
              </a:cxn>
              <a:cxn ang="0">
                <a:pos x="3028" y="1790"/>
              </a:cxn>
              <a:cxn ang="0">
                <a:pos x="2498" y="2020"/>
              </a:cxn>
              <a:cxn ang="0">
                <a:pos x="2238" y="2142"/>
              </a:cxn>
              <a:cxn ang="0">
                <a:pos x="2054" y="2232"/>
              </a:cxn>
              <a:cxn ang="0">
                <a:pos x="1872" y="2326"/>
              </a:cxn>
              <a:cxn ang="0">
                <a:pos x="1696" y="2428"/>
              </a:cxn>
              <a:cxn ang="0">
                <a:pos x="1522" y="2538"/>
              </a:cxn>
              <a:cxn ang="0">
                <a:pos x="1464" y="2578"/>
              </a:cxn>
              <a:cxn ang="0">
                <a:pos x="1350" y="2664"/>
              </a:cxn>
              <a:cxn ang="0">
                <a:pos x="1242" y="2758"/>
              </a:cxn>
              <a:cxn ang="0">
                <a:pos x="1142" y="2860"/>
              </a:cxn>
              <a:cxn ang="0">
                <a:pos x="1096" y="2916"/>
              </a:cxn>
              <a:cxn ang="0">
                <a:pos x="1030" y="3008"/>
              </a:cxn>
              <a:cxn ang="0">
                <a:pos x="976" y="3102"/>
              </a:cxn>
              <a:cxn ang="0">
                <a:pos x="934" y="3200"/>
              </a:cxn>
              <a:cxn ang="0">
                <a:pos x="904" y="3302"/>
              </a:cxn>
              <a:cxn ang="0">
                <a:pos x="884" y="3404"/>
              </a:cxn>
              <a:cxn ang="0">
                <a:pos x="878" y="3512"/>
              </a:cxn>
              <a:cxn ang="0">
                <a:pos x="884" y="3620"/>
              </a:cxn>
              <a:cxn ang="0">
                <a:pos x="900" y="3732"/>
              </a:cxn>
              <a:cxn ang="0">
                <a:pos x="914" y="3788"/>
              </a:cxn>
              <a:cxn ang="0">
                <a:pos x="944" y="3898"/>
              </a:cxn>
              <a:cxn ang="0">
                <a:pos x="982" y="4004"/>
              </a:cxn>
              <a:cxn ang="0">
                <a:pos x="1028" y="4108"/>
              </a:cxn>
              <a:cxn ang="0">
                <a:pos x="1052" y="4160"/>
              </a:cxn>
              <a:cxn ang="0">
                <a:pos x="1126" y="4302"/>
              </a:cxn>
              <a:cxn ang="0">
                <a:pos x="1130" y="4312"/>
              </a:cxn>
              <a:cxn ang="0">
                <a:pos x="1130" y="4318"/>
              </a:cxn>
              <a:cxn ang="0">
                <a:pos x="1116" y="4320"/>
              </a:cxn>
              <a:cxn ang="0">
                <a:pos x="1100" y="4320"/>
              </a:cxn>
              <a:cxn ang="0">
                <a:pos x="0" y="4320"/>
              </a:cxn>
            </a:cxnLst>
            <a:rect l="0" t="0" r="r" b="b"/>
            <a:pathLst>
              <a:path w="4820" h="4320">
                <a:moveTo>
                  <a:pt x="0" y="4320"/>
                </a:moveTo>
                <a:lnTo>
                  <a:pt x="0" y="4320"/>
                </a:lnTo>
                <a:lnTo>
                  <a:pt x="0" y="18"/>
                </a:lnTo>
                <a:lnTo>
                  <a:pt x="0" y="18"/>
                </a:lnTo>
                <a:lnTo>
                  <a:pt x="0" y="8"/>
                </a:lnTo>
                <a:lnTo>
                  <a:pt x="2" y="4"/>
                </a:lnTo>
                <a:lnTo>
                  <a:pt x="8" y="0"/>
                </a:lnTo>
                <a:lnTo>
                  <a:pt x="18" y="0"/>
                </a:lnTo>
                <a:lnTo>
                  <a:pt x="18" y="0"/>
                </a:lnTo>
                <a:lnTo>
                  <a:pt x="4802" y="0"/>
                </a:lnTo>
                <a:lnTo>
                  <a:pt x="4802" y="0"/>
                </a:lnTo>
                <a:lnTo>
                  <a:pt x="4812" y="0"/>
                </a:lnTo>
                <a:lnTo>
                  <a:pt x="4818" y="4"/>
                </a:lnTo>
                <a:lnTo>
                  <a:pt x="4820" y="8"/>
                </a:lnTo>
                <a:lnTo>
                  <a:pt x="4820" y="18"/>
                </a:lnTo>
                <a:lnTo>
                  <a:pt x="4820" y="18"/>
                </a:lnTo>
                <a:lnTo>
                  <a:pt x="4820" y="34"/>
                </a:lnTo>
                <a:lnTo>
                  <a:pt x="4820" y="50"/>
                </a:lnTo>
                <a:lnTo>
                  <a:pt x="4820" y="50"/>
                </a:lnTo>
                <a:lnTo>
                  <a:pt x="4816" y="52"/>
                </a:lnTo>
                <a:lnTo>
                  <a:pt x="4816" y="56"/>
                </a:lnTo>
                <a:lnTo>
                  <a:pt x="4816" y="64"/>
                </a:lnTo>
                <a:lnTo>
                  <a:pt x="4816" y="64"/>
                </a:lnTo>
                <a:lnTo>
                  <a:pt x="4808" y="138"/>
                </a:lnTo>
                <a:lnTo>
                  <a:pt x="4808" y="138"/>
                </a:lnTo>
                <a:lnTo>
                  <a:pt x="4800" y="200"/>
                </a:lnTo>
                <a:lnTo>
                  <a:pt x="4790" y="260"/>
                </a:lnTo>
                <a:lnTo>
                  <a:pt x="4776" y="318"/>
                </a:lnTo>
                <a:lnTo>
                  <a:pt x="4762" y="376"/>
                </a:lnTo>
                <a:lnTo>
                  <a:pt x="4744" y="434"/>
                </a:lnTo>
                <a:lnTo>
                  <a:pt x="4726" y="490"/>
                </a:lnTo>
                <a:lnTo>
                  <a:pt x="4704" y="544"/>
                </a:lnTo>
                <a:lnTo>
                  <a:pt x="4680" y="598"/>
                </a:lnTo>
                <a:lnTo>
                  <a:pt x="4654" y="652"/>
                </a:lnTo>
                <a:lnTo>
                  <a:pt x="4626" y="704"/>
                </a:lnTo>
                <a:lnTo>
                  <a:pt x="4594" y="754"/>
                </a:lnTo>
                <a:lnTo>
                  <a:pt x="4562" y="804"/>
                </a:lnTo>
                <a:lnTo>
                  <a:pt x="4528" y="852"/>
                </a:lnTo>
                <a:lnTo>
                  <a:pt x="4490" y="900"/>
                </a:lnTo>
                <a:lnTo>
                  <a:pt x="4452" y="948"/>
                </a:lnTo>
                <a:lnTo>
                  <a:pt x="4410" y="994"/>
                </a:lnTo>
                <a:lnTo>
                  <a:pt x="4410" y="994"/>
                </a:lnTo>
                <a:lnTo>
                  <a:pt x="4376" y="1030"/>
                </a:lnTo>
                <a:lnTo>
                  <a:pt x="4342" y="1064"/>
                </a:lnTo>
                <a:lnTo>
                  <a:pt x="4306" y="1098"/>
                </a:lnTo>
                <a:lnTo>
                  <a:pt x="4270" y="1130"/>
                </a:lnTo>
                <a:lnTo>
                  <a:pt x="4196" y="1194"/>
                </a:lnTo>
                <a:lnTo>
                  <a:pt x="4118" y="1252"/>
                </a:lnTo>
                <a:lnTo>
                  <a:pt x="4038" y="1308"/>
                </a:lnTo>
                <a:lnTo>
                  <a:pt x="3956" y="1360"/>
                </a:lnTo>
                <a:lnTo>
                  <a:pt x="3872" y="1410"/>
                </a:lnTo>
                <a:lnTo>
                  <a:pt x="3786" y="1458"/>
                </a:lnTo>
                <a:lnTo>
                  <a:pt x="3786" y="1458"/>
                </a:lnTo>
                <a:lnTo>
                  <a:pt x="3724" y="1488"/>
                </a:lnTo>
                <a:lnTo>
                  <a:pt x="3664" y="1518"/>
                </a:lnTo>
                <a:lnTo>
                  <a:pt x="3542" y="1574"/>
                </a:lnTo>
                <a:lnTo>
                  <a:pt x="3418" y="1626"/>
                </a:lnTo>
                <a:lnTo>
                  <a:pt x="3294" y="1678"/>
                </a:lnTo>
                <a:lnTo>
                  <a:pt x="3294" y="1678"/>
                </a:lnTo>
                <a:lnTo>
                  <a:pt x="3028" y="1790"/>
                </a:lnTo>
                <a:lnTo>
                  <a:pt x="2762" y="1904"/>
                </a:lnTo>
                <a:lnTo>
                  <a:pt x="2498" y="2020"/>
                </a:lnTo>
                <a:lnTo>
                  <a:pt x="2368" y="2080"/>
                </a:lnTo>
                <a:lnTo>
                  <a:pt x="2238" y="2142"/>
                </a:lnTo>
                <a:lnTo>
                  <a:pt x="2238" y="2142"/>
                </a:lnTo>
                <a:lnTo>
                  <a:pt x="2054" y="2232"/>
                </a:lnTo>
                <a:lnTo>
                  <a:pt x="1962" y="2278"/>
                </a:lnTo>
                <a:lnTo>
                  <a:pt x="1872" y="2326"/>
                </a:lnTo>
                <a:lnTo>
                  <a:pt x="1784" y="2376"/>
                </a:lnTo>
                <a:lnTo>
                  <a:pt x="1696" y="2428"/>
                </a:lnTo>
                <a:lnTo>
                  <a:pt x="1608" y="2482"/>
                </a:lnTo>
                <a:lnTo>
                  <a:pt x="1522" y="2538"/>
                </a:lnTo>
                <a:lnTo>
                  <a:pt x="1522" y="2538"/>
                </a:lnTo>
                <a:lnTo>
                  <a:pt x="1464" y="2578"/>
                </a:lnTo>
                <a:lnTo>
                  <a:pt x="1406" y="2620"/>
                </a:lnTo>
                <a:lnTo>
                  <a:pt x="1350" y="2664"/>
                </a:lnTo>
                <a:lnTo>
                  <a:pt x="1296" y="2710"/>
                </a:lnTo>
                <a:lnTo>
                  <a:pt x="1242" y="2758"/>
                </a:lnTo>
                <a:lnTo>
                  <a:pt x="1192" y="2808"/>
                </a:lnTo>
                <a:lnTo>
                  <a:pt x="1142" y="2860"/>
                </a:lnTo>
                <a:lnTo>
                  <a:pt x="1096" y="2916"/>
                </a:lnTo>
                <a:lnTo>
                  <a:pt x="1096" y="2916"/>
                </a:lnTo>
                <a:lnTo>
                  <a:pt x="1062" y="2962"/>
                </a:lnTo>
                <a:lnTo>
                  <a:pt x="1030" y="3008"/>
                </a:lnTo>
                <a:lnTo>
                  <a:pt x="1002" y="3054"/>
                </a:lnTo>
                <a:lnTo>
                  <a:pt x="976" y="3102"/>
                </a:lnTo>
                <a:lnTo>
                  <a:pt x="952" y="3152"/>
                </a:lnTo>
                <a:lnTo>
                  <a:pt x="934" y="3200"/>
                </a:lnTo>
                <a:lnTo>
                  <a:pt x="916" y="3250"/>
                </a:lnTo>
                <a:lnTo>
                  <a:pt x="904" y="3302"/>
                </a:lnTo>
                <a:lnTo>
                  <a:pt x="892" y="3352"/>
                </a:lnTo>
                <a:lnTo>
                  <a:pt x="884" y="3404"/>
                </a:lnTo>
                <a:lnTo>
                  <a:pt x="880" y="3458"/>
                </a:lnTo>
                <a:lnTo>
                  <a:pt x="878" y="3512"/>
                </a:lnTo>
                <a:lnTo>
                  <a:pt x="880" y="3566"/>
                </a:lnTo>
                <a:lnTo>
                  <a:pt x="884" y="3620"/>
                </a:lnTo>
                <a:lnTo>
                  <a:pt x="890" y="3676"/>
                </a:lnTo>
                <a:lnTo>
                  <a:pt x="900" y="3732"/>
                </a:lnTo>
                <a:lnTo>
                  <a:pt x="900" y="3732"/>
                </a:lnTo>
                <a:lnTo>
                  <a:pt x="914" y="3788"/>
                </a:lnTo>
                <a:lnTo>
                  <a:pt x="928" y="3844"/>
                </a:lnTo>
                <a:lnTo>
                  <a:pt x="944" y="3898"/>
                </a:lnTo>
                <a:lnTo>
                  <a:pt x="962" y="3952"/>
                </a:lnTo>
                <a:lnTo>
                  <a:pt x="982" y="4004"/>
                </a:lnTo>
                <a:lnTo>
                  <a:pt x="1004" y="4056"/>
                </a:lnTo>
                <a:lnTo>
                  <a:pt x="1028" y="4108"/>
                </a:lnTo>
                <a:lnTo>
                  <a:pt x="1052" y="4160"/>
                </a:lnTo>
                <a:lnTo>
                  <a:pt x="1052" y="4160"/>
                </a:lnTo>
                <a:lnTo>
                  <a:pt x="1088" y="4232"/>
                </a:lnTo>
                <a:lnTo>
                  <a:pt x="1126" y="4302"/>
                </a:lnTo>
                <a:lnTo>
                  <a:pt x="1126" y="4302"/>
                </a:lnTo>
                <a:lnTo>
                  <a:pt x="1130" y="4312"/>
                </a:lnTo>
                <a:lnTo>
                  <a:pt x="1132" y="4316"/>
                </a:lnTo>
                <a:lnTo>
                  <a:pt x="1130" y="4318"/>
                </a:lnTo>
                <a:lnTo>
                  <a:pt x="1126" y="4320"/>
                </a:lnTo>
                <a:lnTo>
                  <a:pt x="1116" y="4320"/>
                </a:lnTo>
                <a:lnTo>
                  <a:pt x="1116" y="4320"/>
                </a:lnTo>
                <a:lnTo>
                  <a:pt x="1100" y="4320"/>
                </a:lnTo>
                <a:lnTo>
                  <a:pt x="1100" y="4320"/>
                </a:lnTo>
                <a:lnTo>
                  <a:pt x="0" y="4320"/>
                </a:lnTo>
                <a:lnTo>
                  <a:pt x="0" y="4320"/>
                </a:lnTo>
                <a:close/>
              </a:path>
            </a:pathLst>
          </a:custGeom>
          <a:solidFill>
            <a:srgbClr val="12AAD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Picture Placeholder 11">
            <a:extLst>
              <a:ext uri="{FF2B5EF4-FFF2-40B4-BE49-F238E27FC236}">
                <a16:creationId xmlns=""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73300" y="0"/>
            <a:ext cx="99187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434513"/>
            <a:ext cx="5419268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insert section titl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="" xmlns:p14="http://schemas.microsoft.com/office/powerpoint/2010/main" val="1549220642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pos="27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6568" name="think-cell Slide" r:id="rId4" imgW="360" imgH="360" progId="">
              <p:embed/>
            </p:oleObj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7592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861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="" xmlns:p14="http://schemas.microsoft.com/office/powerpoint/2010/main" val="713877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="" xmlns:p14="http://schemas.microsoft.com/office/powerpoint/2010/main" val="25833236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1688" name="think-cell Slide" r:id="rId4" imgW="360" imgH="360" progId="">
              <p:embed/>
            </p:oleObj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8199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rgbClr val="93E41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=""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="" xmlns:p14="http://schemas.microsoft.com/office/powerpoint/2010/main" val="990797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11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4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448" name="think-cell Slide" r:id="rId12" imgW="360" imgH="360" progId="">
              <p:embed/>
            </p:oleObj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Capgemini 2018. All rights reserved  </a:t>
            </a:r>
            <a:r>
              <a:rPr lang="en-US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</a:t>
            </a:r>
            <a:r>
              <a:rPr lang="fr-FR" err="1"/>
              <a:t>tit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77" r:id="rId7"/>
    <p:sldLayoutId id="2147483834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0664" name="think-cell Slide" r:id="rId8" imgW="360" imgH="360" progId="">
              <p:embed/>
            </p:oleObj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Capgemini 2018. All rights reserved  </a:t>
            </a:r>
            <a:r>
              <a:rPr lang="en-US">
                <a:solidFill>
                  <a:schemeClr val="accent2"/>
                </a:solidFill>
              </a:rPr>
              <a:t>|</a:t>
            </a:r>
          </a:p>
        </p:txBody>
      </p:sp>
    </p:spTree>
    <p:extLst>
      <p:ext uri="{BB962C8B-B14F-4D97-AF65-F5344CB8AC3E}">
        <p14:creationId xmlns="" xmlns:p14="http://schemas.microsoft.com/office/powerpoint/2010/main" val="2642789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9" r:id="rId4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orient="horz" pos="4088" userDrawn="1">
          <p15:clr>
            <a:srgbClr val="F26B43"/>
          </p15:clr>
        </p15:guide>
        <p15:guide id="2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10/2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4010465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3885" r:id="rId5"/>
    <p:sldLayoutId id="2147483886" r:id="rId6"/>
    <p:sldLayoutId id="2147483887" r:id="rId7"/>
    <p:sldLayoutId id="2147483888" r:id="rId8"/>
    <p:sldLayoutId id="2147483889" r:id="rId9"/>
    <p:sldLayoutId id="2147483890" r:id="rId10"/>
    <p:sldLayoutId id="2147483891" r:id="rId11"/>
    <p:sldLayoutId id="2147483839" r:id="rId12"/>
    <p:sldLayoutId id="2147483841" r:id="rId13"/>
    <p:sldLayoutId id="2147483842" r:id="rId14"/>
    <p:sldLayoutId id="214748389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0707" y="434513"/>
            <a:ext cx="5911957" cy="1902287"/>
          </a:xfrm>
        </p:spPr>
        <p:txBody>
          <a:bodyPr/>
          <a:lstStyle/>
          <a:p>
            <a:r>
              <a:rPr lang="en-US" b="1" dirty="0" smtClean="0"/>
              <a:t>News Paper </a:t>
            </a:r>
            <a:r>
              <a:rPr lang="en-US" b="1" dirty="0" err="1" smtClean="0"/>
              <a:t>Advetisement</a:t>
            </a:r>
            <a:endParaRPr lang="en-US" b="1" dirty="0" smtClean="0"/>
          </a:p>
          <a:p>
            <a:r>
              <a:rPr lang="en-US" b="1" dirty="0" smtClean="0"/>
              <a:t>          Management</a:t>
            </a:r>
            <a:endParaRPr lang="en-US" dirty="0"/>
          </a:p>
          <a:p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071360" y="3429000"/>
            <a:ext cx="4267200" cy="267765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/>
            <a:r>
              <a:rPr lang="en-US" sz="2800" dirty="0" err="1" smtClean="0">
                <a:solidFill>
                  <a:schemeClr val="tx2">
                    <a:lumMod val="75000"/>
                  </a:schemeClr>
                </a:solidFill>
              </a:rPr>
              <a:t>Gajendra</a:t>
            </a: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US" sz="2800" dirty="0" err="1" smtClean="0">
                <a:solidFill>
                  <a:schemeClr val="tx2">
                    <a:lumMod val="75000"/>
                  </a:schemeClr>
                </a:solidFill>
              </a:rPr>
              <a:t>Negi</a:t>
            </a:r>
            <a:endParaRPr lang="en-US" sz="2800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0"/>
            <a:r>
              <a:rPr lang="en-US" sz="2800" dirty="0" err="1" smtClean="0">
                <a:solidFill>
                  <a:schemeClr val="tx2">
                    <a:lumMod val="75000"/>
                  </a:schemeClr>
                </a:solidFill>
              </a:rPr>
              <a:t>Pulak</a:t>
            </a: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US" sz="2800" dirty="0" err="1" smtClean="0">
                <a:solidFill>
                  <a:schemeClr val="tx2">
                    <a:lumMod val="75000"/>
                  </a:schemeClr>
                </a:solidFill>
              </a:rPr>
              <a:t>Sinha</a:t>
            </a:r>
            <a:endParaRPr lang="en-US" sz="2800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0"/>
            <a:r>
              <a:rPr lang="en-US" sz="2800" dirty="0" err="1" smtClean="0">
                <a:solidFill>
                  <a:schemeClr val="tx2">
                    <a:lumMod val="75000"/>
                  </a:schemeClr>
                </a:solidFill>
              </a:rPr>
              <a:t>Bhagyasri</a:t>
            </a: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US" sz="2800" dirty="0" err="1" smtClean="0">
                <a:solidFill>
                  <a:schemeClr val="tx2">
                    <a:lumMod val="75000"/>
                  </a:schemeClr>
                </a:solidFill>
              </a:rPr>
              <a:t>Manchella</a:t>
            </a:r>
            <a:endParaRPr lang="en-US" sz="2800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en-US" sz="2800" dirty="0" err="1" smtClean="0">
                <a:solidFill>
                  <a:schemeClr val="tx2">
                    <a:lumMod val="75000"/>
                  </a:schemeClr>
                </a:solidFill>
              </a:rPr>
              <a:t>Aparna</a:t>
            </a: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US" sz="2800" dirty="0" err="1" smtClean="0">
                <a:solidFill>
                  <a:schemeClr val="tx2">
                    <a:lumMod val="75000"/>
                  </a:schemeClr>
                </a:solidFill>
              </a:rPr>
              <a:t>Kacham</a:t>
            </a:r>
            <a:endParaRPr lang="en-US" sz="2800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0"/>
            <a:r>
              <a:rPr lang="en-US" sz="2800" dirty="0" err="1" smtClean="0">
                <a:solidFill>
                  <a:schemeClr val="tx2">
                    <a:lumMod val="75000"/>
                  </a:schemeClr>
                </a:solidFill>
              </a:rPr>
              <a:t>Rana</a:t>
            </a: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US" sz="2800" dirty="0" err="1" smtClean="0">
                <a:solidFill>
                  <a:schemeClr val="tx2">
                    <a:lumMod val="75000"/>
                  </a:schemeClr>
                </a:solidFill>
              </a:rPr>
              <a:t>Utkarsh</a:t>
            </a: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US" sz="2800" dirty="0" err="1" smtClean="0">
                <a:solidFill>
                  <a:schemeClr val="tx2">
                    <a:lumMod val="75000"/>
                  </a:schemeClr>
                </a:solidFill>
              </a:rPr>
              <a:t>Vikram</a:t>
            </a:r>
            <a:endParaRPr lang="en-US" sz="2800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0"/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</a:rPr>
              <a:t>Soumya </a:t>
            </a: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</a:rPr>
              <a:t>Jena</a:t>
            </a:r>
            <a:endParaRPr lang="en-US" sz="28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43010" name="Picture 2" descr="The Ultimate Guide to Advertising in 202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725187" y="0"/>
            <a:ext cx="5105742" cy="259868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4906101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1967" y="0"/>
            <a:ext cx="11551299" cy="1104900"/>
          </a:xfrm>
        </p:spPr>
        <p:txBody>
          <a:bodyPr/>
          <a:lstStyle/>
          <a:p>
            <a:r>
              <a:rPr b="1" smtClean="0"/>
              <a:t>                         News Paper Advetisement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025181" y="1488281"/>
            <a:ext cx="9835623" cy="59093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indent="-342900">
              <a:buSzPct val="137000"/>
              <a:buFont typeface="Arial" panose="020B0604020202020204" pitchFamily="34" charset="0"/>
              <a:buChar char="•"/>
            </a:pPr>
            <a:r>
              <a:rPr lang="en-US" sz="2400" dirty="0">
                <a:ea typeface="+mn-lt"/>
                <a:cs typeface="+mn-lt"/>
              </a:rPr>
              <a:t>This </a:t>
            </a:r>
            <a:r>
              <a:rPr lang="en-US" sz="2400" dirty="0" smtClean="0">
                <a:ea typeface="+mn-lt"/>
                <a:cs typeface="+mn-lt"/>
              </a:rPr>
              <a:t>app </a:t>
            </a:r>
            <a:r>
              <a:rPr lang="en-US" sz="2400" dirty="0">
                <a:ea typeface="+mn-lt"/>
                <a:cs typeface="+mn-lt"/>
              </a:rPr>
              <a:t>is made to </a:t>
            </a:r>
            <a:r>
              <a:rPr lang="en-US" sz="2400" dirty="0" smtClean="0">
                <a:ea typeface="+mn-lt"/>
                <a:cs typeface="+mn-lt"/>
              </a:rPr>
              <a:t>Interact with news paper agency and customer who want to give ads.</a:t>
            </a:r>
            <a:endParaRPr lang="en-US" sz="2400" dirty="0">
              <a:ea typeface="+mn-lt"/>
              <a:cs typeface="+mn-lt"/>
            </a:endParaRPr>
          </a:p>
          <a:p>
            <a:pPr marL="342900" indent="-342900">
              <a:buSzPct val="137000"/>
              <a:buFont typeface="Arial" panose="020B0604020202020204" pitchFamily="34" charset="0"/>
              <a:buChar char="•"/>
            </a:pPr>
            <a:endParaRPr lang="en-US" sz="2400" dirty="0">
              <a:ea typeface="+mn-lt"/>
              <a:cs typeface="+mn-lt"/>
            </a:endParaRPr>
          </a:p>
          <a:p>
            <a:pPr marL="342900" indent="-342900">
              <a:buSzPct val="137000"/>
              <a:buFont typeface="Arial" panose="020B0604020202020204" pitchFamily="34" charset="0"/>
              <a:buChar char="•"/>
            </a:pPr>
            <a:r>
              <a:rPr lang="en-US" sz="2400" dirty="0">
                <a:ea typeface="+mn-lt"/>
                <a:cs typeface="+mn-lt"/>
              </a:rPr>
              <a:t>The admin can oversee and manage all the accounts, as well as view </a:t>
            </a:r>
            <a:r>
              <a:rPr lang="en-US" sz="2400" dirty="0" smtClean="0">
                <a:ea typeface="+mn-lt"/>
                <a:cs typeface="+mn-lt"/>
              </a:rPr>
              <a:t>customer ads request.</a:t>
            </a:r>
            <a:endParaRPr lang="en-US" sz="2400" dirty="0">
              <a:ea typeface="Verdana"/>
            </a:endParaRPr>
          </a:p>
          <a:p>
            <a:pPr marL="342900" indent="-342900">
              <a:buSzPct val="137000"/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SzPct val="137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000000"/>
                </a:solidFill>
                <a:ea typeface="+mn-lt"/>
                <a:cs typeface="+mn-lt"/>
              </a:rPr>
              <a:t>Customer can see and apply for advertisement </a:t>
            </a:r>
            <a:r>
              <a:rPr lang="en-US" sz="2400" dirty="0" err="1" smtClean="0">
                <a:solidFill>
                  <a:srgbClr val="000000"/>
                </a:solidFill>
                <a:ea typeface="+mn-lt"/>
                <a:cs typeface="+mn-lt"/>
              </a:rPr>
              <a:t>acording</a:t>
            </a:r>
            <a:r>
              <a:rPr lang="en-US" sz="2400" dirty="0" smtClean="0">
                <a:solidFill>
                  <a:srgbClr val="000000"/>
                </a:solidFill>
                <a:ea typeface="+mn-lt"/>
                <a:cs typeface="+mn-lt"/>
              </a:rPr>
              <a:t> to his requirement.</a:t>
            </a:r>
            <a:endParaRPr lang="en-US" sz="2400" dirty="0">
              <a:solidFill>
                <a:srgbClr val="000000"/>
              </a:solidFill>
              <a:ea typeface="+mn-lt"/>
              <a:cs typeface="+mn-lt"/>
            </a:endParaRPr>
          </a:p>
          <a:p>
            <a:pPr marL="285750" indent="-285750">
              <a:buSzPct val="137000"/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000000"/>
              </a:solidFill>
              <a:ea typeface="+mn-lt"/>
              <a:cs typeface="+mn-lt"/>
            </a:endParaRPr>
          </a:p>
          <a:p>
            <a:pPr marL="285750" indent="-285750">
              <a:buSzPct val="137000"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000000"/>
                </a:solidFill>
                <a:ea typeface="+mn-lt"/>
                <a:cs typeface="+mn-lt"/>
              </a:rPr>
              <a:t>Admin can view and approve add request made by customer and same status show to customer.</a:t>
            </a:r>
            <a:endParaRPr lang="en-US" sz="2400" dirty="0">
              <a:solidFill>
                <a:srgbClr val="000000"/>
              </a:solidFill>
              <a:ea typeface="Verdana"/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-38500"/>
            <a:ext cx="11125236" cy="1104900"/>
          </a:xfrm>
        </p:spPr>
        <p:txBody>
          <a:bodyPr/>
          <a:lstStyle/>
          <a:p>
            <a:r>
              <a:rPr lang="en-US"/>
              <a:t>Architecture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5257800" y="944880"/>
            <a:ext cx="1371600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Database</a:t>
            </a:r>
          </a:p>
        </p:txBody>
      </p:sp>
      <p:sp>
        <p:nvSpPr>
          <p:cNvPr id="26" name="Title 102">
            <a:extLst>
              <a:ext uri="{FF2B5EF4-FFF2-40B4-BE49-F238E27FC236}">
                <a16:creationId xmlns="" xmlns:a16="http://schemas.microsoft.com/office/drawing/2014/main" id="{7C5E4C55-83FF-4B55-A6D6-563D04582C80}"/>
              </a:ext>
            </a:extLst>
          </p:cNvPr>
          <p:cNvSpPr txBox="1">
            <a:spLocks/>
          </p:cNvSpPr>
          <p:nvPr/>
        </p:nvSpPr>
        <p:spPr>
          <a:xfrm>
            <a:off x="533382" y="5183505"/>
            <a:ext cx="6191250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tx1"/>
                </a:solidFill>
              </a:rPr>
              <a:t>CRUD Operations using </a:t>
            </a:r>
            <a:r>
              <a:rPr lang="en-GB" dirty="0" smtClean="0">
                <a:solidFill>
                  <a:schemeClr val="tx1"/>
                </a:solidFill>
              </a:rPr>
              <a:t>database first approach in </a:t>
            </a:r>
            <a:r>
              <a:rPr lang="en-GB" dirty="0">
                <a:solidFill>
                  <a:schemeClr val="tx1"/>
                </a:solidFill>
              </a:rPr>
              <a:t>MVC</a:t>
            </a:r>
          </a:p>
        </p:txBody>
      </p:sp>
      <p:pic>
        <p:nvPicPr>
          <p:cNvPr id="39938" name="Picture 2" descr="Development Approach with Entity Framework - Dot Net Tutorials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51328" y="1539824"/>
            <a:ext cx="8708092" cy="2722685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 smtClean="0"/>
              <a:t>Technology Requirements</a:t>
            </a:r>
            <a:endParaRPr lang="en-US" dirty="0" smtClean="0"/>
          </a:p>
          <a:p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186196" y="2438400"/>
            <a:ext cx="5906277" cy="267765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400" dirty="0" err="1" smtClean="0"/>
              <a:t>DotNet</a:t>
            </a:r>
            <a:r>
              <a:rPr lang="en-US" sz="2400" dirty="0" smtClean="0"/>
              <a:t> MVC 5.0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ea typeface="Verdana"/>
              </a:rPr>
              <a:t>Microsoft SQL Server Management Studio 18.6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ea typeface="Verdana"/>
              </a:rPr>
              <a:t>Bootstrap 3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ea typeface="Verdana"/>
              </a:rPr>
              <a:t>CS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ea typeface="Verdana"/>
              </a:rPr>
              <a:t>HTML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ea typeface="Verdana"/>
              </a:rPr>
              <a:t>ADO DOTNET Entity Framework 6</a:t>
            </a:r>
            <a:endParaRPr lang="en-US" sz="2400" dirty="0">
              <a:ea typeface="Verdana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Title 10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cope Of </a:t>
            </a:r>
            <a:r>
              <a:rPr lang="en-US" dirty="0" smtClean="0">
                <a:ea typeface="+mj-lt"/>
                <a:cs typeface="+mj-lt"/>
              </a:rPr>
              <a:t>New Paper Advertisement App</a:t>
            </a:r>
            <a:r>
              <a:rPr lang="en-GB" dirty="0"/>
              <a:t>		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="" xmlns:a16="http://schemas.microsoft.com/office/drawing/2014/main" id="{3004B549-EB02-42FD-B432-43F5D9AC551E}"/>
              </a:ext>
            </a:extLst>
          </p:cNvPr>
          <p:cNvSpPr/>
          <p:nvPr/>
        </p:nvSpPr>
        <p:spPr>
          <a:xfrm>
            <a:off x="3462945" y="1871519"/>
            <a:ext cx="2068473" cy="817353"/>
          </a:xfrm>
          <a:prstGeom prst="rect">
            <a:avLst/>
          </a:prstGeom>
          <a:solidFill>
            <a:srgbClr val="3DC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53" name="Rectangle 52">
            <a:extLst>
              <a:ext uri="{FF2B5EF4-FFF2-40B4-BE49-F238E27FC236}">
                <a16:creationId xmlns="" xmlns:a16="http://schemas.microsoft.com/office/drawing/2014/main" id="{86304B18-FE01-4A88-AA17-A2A76AB7E3F6}"/>
              </a:ext>
            </a:extLst>
          </p:cNvPr>
          <p:cNvSpPr/>
          <p:nvPr/>
        </p:nvSpPr>
        <p:spPr>
          <a:xfrm>
            <a:off x="247135" y="1815351"/>
            <a:ext cx="2196091" cy="4466201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54" name="Rectangle 53">
            <a:extLst>
              <a:ext uri="{FF2B5EF4-FFF2-40B4-BE49-F238E27FC236}">
                <a16:creationId xmlns="" xmlns:a16="http://schemas.microsoft.com/office/drawing/2014/main" id="{AC8E1C88-76B5-4FBC-8619-E07B3932BC02}"/>
              </a:ext>
            </a:extLst>
          </p:cNvPr>
          <p:cNvSpPr/>
          <p:nvPr/>
        </p:nvSpPr>
        <p:spPr>
          <a:xfrm>
            <a:off x="303853" y="1871519"/>
            <a:ext cx="2068473" cy="817353"/>
          </a:xfrm>
          <a:prstGeom prst="rect">
            <a:avLst/>
          </a:prstGeom>
          <a:solidFill>
            <a:srgbClr val="92DE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chemeClr val="bg1"/>
              </a:solidFill>
            </a:endParaRPr>
          </a:p>
        </p:txBody>
      </p:sp>
      <p:grpSp>
        <p:nvGrpSpPr>
          <p:cNvPr id="55" name="Group 23">
            <a:extLst>
              <a:ext uri="{FF2B5EF4-FFF2-40B4-BE49-F238E27FC236}">
                <a16:creationId xmlns="" xmlns:a16="http://schemas.microsoft.com/office/drawing/2014/main" id="{1B58497A-0F7B-4703-85F2-39E02EFE84A4}"/>
              </a:ext>
            </a:extLst>
          </p:cNvPr>
          <p:cNvGrpSpPr/>
          <p:nvPr/>
        </p:nvGrpSpPr>
        <p:grpSpPr>
          <a:xfrm>
            <a:off x="407515" y="2021579"/>
            <a:ext cx="569860" cy="503634"/>
            <a:chOff x="-3076576" y="4076701"/>
            <a:chExt cx="1465263" cy="1363663"/>
          </a:xfrm>
        </p:grpSpPr>
        <p:sp>
          <p:nvSpPr>
            <p:cNvPr id="98" name="Freeform 5">
              <a:extLst>
                <a:ext uri="{FF2B5EF4-FFF2-40B4-BE49-F238E27FC236}">
                  <a16:creationId xmlns="" xmlns:a16="http://schemas.microsoft.com/office/drawing/2014/main" id="{84D5A19F-B65F-49AC-944B-1A977542973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76576" y="4076701"/>
              <a:ext cx="1465263" cy="1363663"/>
            </a:xfrm>
            <a:custGeom>
              <a:avLst/>
              <a:gdLst>
                <a:gd name="T0" fmla="*/ 34 w 233"/>
                <a:gd name="T1" fmla="*/ 169 h 217"/>
                <a:gd name="T2" fmla="*/ 56 w 233"/>
                <a:gd name="T3" fmla="*/ 32 h 217"/>
                <a:gd name="T4" fmla="*/ 199 w 233"/>
                <a:gd name="T5" fmla="*/ 52 h 217"/>
                <a:gd name="T6" fmla="*/ 173 w 233"/>
                <a:gd name="T7" fmla="*/ 184 h 217"/>
                <a:gd name="T8" fmla="*/ 34 w 233"/>
                <a:gd name="T9" fmla="*/ 169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217">
                  <a:moveTo>
                    <a:pt x="34" y="169"/>
                  </a:moveTo>
                  <a:cubicBezTo>
                    <a:pt x="0" y="126"/>
                    <a:pt x="10" y="65"/>
                    <a:pt x="56" y="32"/>
                  </a:cubicBezTo>
                  <a:cubicBezTo>
                    <a:pt x="102" y="0"/>
                    <a:pt x="166" y="9"/>
                    <a:pt x="199" y="52"/>
                  </a:cubicBezTo>
                  <a:cubicBezTo>
                    <a:pt x="233" y="96"/>
                    <a:pt x="219" y="152"/>
                    <a:pt x="173" y="184"/>
                  </a:cubicBezTo>
                  <a:cubicBezTo>
                    <a:pt x="128" y="217"/>
                    <a:pt x="67" y="213"/>
                    <a:pt x="34" y="16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6">
              <a:extLst>
                <a:ext uri="{FF2B5EF4-FFF2-40B4-BE49-F238E27FC236}">
                  <a16:creationId xmlns="" xmlns:a16="http://schemas.microsoft.com/office/drawing/2014/main" id="{BFA6D27A-A35A-4ED5-80F9-60C3296DA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93988" y="4391026"/>
              <a:ext cx="711200" cy="722313"/>
            </a:xfrm>
            <a:custGeom>
              <a:avLst/>
              <a:gdLst>
                <a:gd name="T0" fmla="*/ 100 w 113"/>
                <a:gd name="T1" fmla="*/ 15 h 115"/>
                <a:gd name="T2" fmla="*/ 50 w 113"/>
                <a:gd name="T3" fmla="*/ 14 h 115"/>
                <a:gd name="T4" fmla="*/ 42 w 113"/>
                <a:gd name="T5" fmla="*/ 52 h 115"/>
                <a:gd name="T6" fmla="*/ 41 w 113"/>
                <a:gd name="T7" fmla="*/ 52 h 115"/>
                <a:gd name="T8" fmla="*/ 26 w 113"/>
                <a:gd name="T9" fmla="*/ 67 h 115"/>
                <a:gd name="T10" fmla="*/ 25 w 113"/>
                <a:gd name="T11" fmla="*/ 68 h 115"/>
                <a:gd name="T12" fmla="*/ 25 w 113"/>
                <a:gd name="T13" fmla="*/ 81 h 115"/>
                <a:gd name="T14" fmla="*/ 23 w 113"/>
                <a:gd name="T15" fmla="*/ 83 h 115"/>
                <a:gd name="T16" fmla="*/ 14 w 113"/>
                <a:gd name="T17" fmla="*/ 83 h 115"/>
                <a:gd name="T18" fmla="*/ 12 w 113"/>
                <a:gd name="T19" fmla="*/ 85 h 115"/>
                <a:gd name="T20" fmla="*/ 12 w 113"/>
                <a:gd name="T21" fmla="*/ 96 h 115"/>
                <a:gd name="T22" fmla="*/ 10 w 113"/>
                <a:gd name="T23" fmla="*/ 98 h 115"/>
                <a:gd name="T24" fmla="*/ 2 w 113"/>
                <a:gd name="T25" fmla="*/ 98 h 115"/>
                <a:gd name="T26" fmla="*/ 0 w 113"/>
                <a:gd name="T27" fmla="*/ 100 h 115"/>
                <a:gd name="T28" fmla="*/ 0 w 113"/>
                <a:gd name="T29" fmla="*/ 113 h 115"/>
                <a:gd name="T30" fmla="*/ 2 w 113"/>
                <a:gd name="T31" fmla="*/ 115 h 115"/>
                <a:gd name="T32" fmla="*/ 11 w 113"/>
                <a:gd name="T33" fmla="*/ 115 h 115"/>
                <a:gd name="T34" fmla="*/ 12 w 113"/>
                <a:gd name="T35" fmla="*/ 114 h 115"/>
                <a:gd name="T36" fmla="*/ 37 w 113"/>
                <a:gd name="T37" fmla="*/ 90 h 115"/>
                <a:gd name="T38" fmla="*/ 38 w 113"/>
                <a:gd name="T39" fmla="*/ 89 h 115"/>
                <a:gd name="T40" fmla="*/ 45 w 113"/>
                <a:gd name="T41" fmla="*/ 89 h 115"/>
                <a:gd name="T42" fmla="*/ 47 w 113"/>
                <a:gd name="T43" fmla="*/ 88 h 115"/>
                <a:gd name="T44" fmla="*/ 63 w 113"/>
                <a:gd name="T45" fmla="*/ 72 h 115"/>
                <a:gd name="T46" fmla="*/ 99 w 113"/>
                <a:gd name="T47" fmla="*/ 65 h 115"/>
                <a:gd name="T48" fmla="*/ 100 w 113"/>
                <a:gd name="T49" fmla="*/ 15 h 115"/>
                <a:gd name="T50" fmla="*/ 93 w 113"/>
                <a:gd name="T51" fmla="*/ 45 h 115"/>
                <a:gd name="T52" fmla="*/ 70 w 113"/>
                <a:gd name="T53" fmla="*/ 45 h 115"/>
                <a:gd name="T54" fmla="*/ 70 w 113"/>
                <a:gd name="T55" fmla="*/ 21 h 115"/>
                <a:gd name="T56" fmla="*/ 93 w 113"/>
                <a:gd name="T57" fmla="*/ 22 h 115"/>
                <a:gd name="T58" fmla="*/ 93 w 113"/>
                <a:gd name="T59" fmla="*/ 4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3" h="115">
                  <a:moveTo>
                    <a:pt x="100" y="15"/>
                  </a:moveTo>
                  <a:cubicBezTo>
                    <a:pt x="86" y="1"/>
                    <a:pt x="64" y="0"/>
                    <a:pt x="50" y="14"/>
                  </a:cubicBezTo>
                  <a:cubicBezTo>
                    <a:pt x="39" y="24"/>
                    <a:pt x="36" y="39"/>
                    <a:pt x="42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5" y="67"/>
                    <a:pt x="25" y="68"/>
                    <a:pt x="25" y="68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2"/>
                    <a:pt x="24" y="83"/>
                    <a:pt x="23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3" y="83"/>
                    <a:pt x="12" y="84"/>
                    <a:pt x="12" y="85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12" y="98"/>
                    <a:pt x="11" y="98"/>
                    <a:pt x="10" y="98"/>
                  </a:cubicBezTo>
                  <a:cubicBezTo>
                    <a:pt x="2" y="98"/>
                    <a:pt x="2" y="98"/>
                    <a:pt x="2" y="98"/>
                  </a:cubicBezTo>
                  <a:cubicBezTo>
                    <a:pt x="1" y="98"/>
                    <a:pt x="0" y="99"/>
                    <a:pt x="0" y="100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1" y="115"/>
                    <a:pt x="2" y="115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11" y="115"/>
                    <a:pt x="12" y="115"/>
                    <a:pt x="12" y="114"/>
                  </a:cubicBezTo>
                  <a:cubicBezTo>
                    <a:pt x="37" y="90"/>
                    <a:pt x="37" y="90"/>
                    <a:pt x="37" y="90"/>
                  </a:cubicBezTo>
                  <a:cubicBezTo>
                    <a:pt x="37" y="89"/>
                    <a:pt x="38" y="89"/>
                    <a:pt x="38" y="89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6" y="89"/>
                    <a:pt x="46" y="89"/>
                    <a:pt x="47" y="88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75" y="77"/>
                    <a:pt x="89" y="74"/>
                    <a:pt x="99" y="65"/>
                  </a:cubicBezTo>
                  <a:cubicBezTo>
                    <a:pt x="113" y="51"/>
                    <a:pt x="113" y="29"/>
                    <a:pt x="100" y="15"/>
                  </a:cubicBezTo>
                  <a:close/>
                  <a:moveTo>
                    <a:pt x="93" y="45"/>
                  </a:moveTo>
                  <a:cubicBezTo>
                    <a:pt x="86" y="51"/>
                    <a:pt x="76" y="51"/>
                    <a:pt x="70" y="45"/>
                  </a:cubicBezTo>
                  <a:cubicBezTo>
                    <a:pt x="63" y="38"/>
                    <a:pt x="63" y="27"/>
                    <a:pt x="70" y="21"/>
                  </a:cubicBezTo>
                  <a:cubicBezTo>
                    <a:pt x="77" y="15"/>
                    <a:pt x="87" y="15"/>
                    <a:pt x="93" y="22"/>
                  </a:cubicBezTo>
                  <a:cubicBezTo>
                    <a:pt x="100" y="28"/>
                    <a:pt x="100" y="39"/>
                    <a:pt x="93" y="45"/>
                  </a:cubicBezTo>
                  <a:close/>
                </a:path>
              </a:pathLst>
            </a:custGeom>
            <a:solidFill>
              <a:srgbClr val="12AB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="" xmlns:a16="http://schemas.microsoft.com/office/drawing/2014/main" id="{A1809CA5-7D56-407C-9D28-9C025BC3466D}"/>
              </a:ext>
            </a:extLst>
          </p:cNvPr>
          <p:cNvSpPr/>
          <p:nvPr/>
        </p:nvSpPr>
        <p:spPr>
          <a:xfrm>
            <a:off x="3397147" y="1820563"/>
            <a:ext cx="2196091" cy="4466201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58" name="Rectangle 57">
            <a:extLst>
              <a:ext uri="{FF2B5EF4-FFF2-40B4-BE49-F238E27FC236}">
                <a16:creationId xmlns="" xmlns:a16="http://schemas.microsoft.com/office/drawing/2014/main" id="{E84F61DF-65CA-45BF-9A0B-34B97F6A97EA}"/>
              </a:ext>
            </a:extLst>
          </p:cNvPr>
          <p:cNvSpPr/>
          <p:nvPr/>
        </p:nvSpPr>
        <p:spPr>
          <a:xfrm>
            <a:off x="6500757" y="1815351"/>
            <a:ext cx="2196091" cy="4466201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59" name="Rectangle 58">
            <a:extLst>
              <a:ext uri="{FF2B5EF4-FFF2-40B4-BE49-F238E27FC236}">
                <a16:creationId xmlns="" xmlns:a16="http://schemas.microsoft.com/office/drawing/2014/main" id="{831AED31-10FD-4B27-990C-A819D745E531}"/>
              </a:ext>
            </a:extLst>
          </p:cNvPr>
          <p:cNvSpPr/>
          <p:nvPr/>
        </p:nvSpPr>
        <p:spPr>
          <a:xfrm>
            <a:off x="6570804" y="1864719"/>
            <a:ext cx="2068473" cy="817353"/>
          </a:xfrm>
          <a:prstGeom prst="rect">
            <a:avLst/>
          </a:pr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64" name="Rectangle 63">
            <a:extLst>
              <a:ext uri="{FF2B5EF4-FFF2-40B4-BE49-F238E27FC236}">
                <a16:creationId xmlns="" xmlns:a16="http://schemas.microsoft.com/office/drawing/2014/main" id="{9C16D0F2-2CA3-4538-9C3C-86C7AA9E9C07}"/>
              </a:ext>
            </a:extLst>
          </p:cNvPr>
          <p:cNvSpPr/>
          <p:nvPr/>
        </p:nvSpPr>
        <p:spPr>
          <a:xfrm>
            <a:off x="9788346" y="1815351"/>
            <a:ext cx="2196091" cy="4466201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65" name="Rectangle 64">
            <a:extLst>
              <a:ext uri="{FF2B5EF4-FFF2-40B4-BE49-F238E27FC236}">
                <a16:creationId xmlns="" xmlns:a16="http://schemas.microsoft.com/office/drawing/2014/main" id="{F632AB97-A0B1-4CCB-95C6-07407A0214F2}"/>
              </a:ext>
            </a:extLst>
          </p:cNvPr>
          <p:cNvSpPr/>
          <p:nvPr/>
        </p:nvSpPr>
        <p:spPr>
          <a:xfrm>
            <a:off x="9845316" y="1871519"/>
            <a:ext cx="2068473" cy="817353"/>
          </a:xfrm>
          <a:prstGeom prst="rect">
            <a:avLst/>
          </a:prstGeom>
          <a:solidFill>
            <a:srgbClr val="2B0A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pSp>
        <p:nvGrpSpPr>
          <p:cNvPr id="66" name="Group 23">
            <a:extLst>
              <a:ext uri="{FF2B5EF4-FFF2-40B4-BE49-F238E27FC236}">
                <a16:creationId xmlns="" xmlns:a16="http://schemas.microsoft.com/office/drawing/2014/main" id="{6637FD03-2A69-4B0E-9145-84BE19095B05}"/>
              </a:ext>
            </a:extLst>
          </p:cNvPr>
          <p:cNvGrpSpPr>
            <a:grpSpLocks noChangeAspect="1"/>
          </p:cNvGrpSpPr>
          <p:nvPr/>
        </p:nvGrpSpPr>
        <p:grpSpPr>
          <a:xfrm>
            <a:off x="9942541" y="2021487"/>
            <a:ext cx="574680" cy="507592"/>
            <a:chOff x="-2836862" y="6440488"/>
            <a:chExt cx="885824" cy="823913"/>
          </a:xfrm>
        </p:grpSpPr>
        <p:sp>
          <p:nvSpPr>
            <p:cNvPr id="77" name="Freeform 23">
              <a:extLst>
                <a:ext uri="{FF2B5EF4-FFF2-40B4-BE49-F238E27FC236}">
                  <a16:creationId xmlns="" xmlns:a16="http://schemas.microsoft.com/office/drawing/2014/main" id="{D60549F4-D458-4521-9578-087EA675A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36862" y="6440488"/>
              <a:ext cx="885824" cy="823913"/>
            </a:xfrm>
            <a:custGeom>
              <a:avLst/>
              <a:gdLst>
                <a:gd name="T0" fmla="*/ 34 w 233"/>
                <a:gd name="T1" fmla="*/ 170 h 217"/>
                <a:gd name="T2" fmla="*/ 56 w 233"/>
                <a:gd name="T3" fmla="*/ 32 h 217"/>
                <a:gd name="T4" fmla="*/ 199 w 233"/>
                <a:gd name="T5" fmla="*/ 52 h 217"/>
                <a:gd name="T6" fmla="*/ 173 w 233"/>
                <a:gd name="T7" fmla="*/ 184 h 217"/>
                <a:gd name="T8" fmla="*/ 34 w 233"/>
                <a:gd name="T9" fmla="*/ 17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217">
                  <a:moveTo>
                    <a:pt x="34" y="170"/>
                  </a:moveTo>
                  <a:cubicBezTo>
                    <a:pt x="0" y="126"/>
                    <a:pt x="10" y="65"/>
                    <a:pt x="56" y="32"/>
                  </a:cubicBezTo>
                  <a:cubicBezTo>
                    <a:pt x="102" y="0"/>
                    <a:pt x="166" y="9"/>
                    <a:pt x="199" y="52"/>
                  </a:cubicBezTo>
                  <a:cubicBezTo>
                    <a:pt x="233" y="96"/>
                    <a:pt x="219" y="152"/>
                    <a:pt x="173" y="184"/>
                  </a:cubicBezTo>
                  <a:cubicBezTo>
                    <a:pt x="128" y="217"/>
                    <a:pt x="67" y="213"/>
                    <a:pt x="34" y="17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4">
              <a:extLst>
                <a:ext uri="{FF2B5EF4-FFF2-40B4-BE49-F238E27FC236}">
                  <a16:creationId xmlns="" xmlns:a16="http://schemas.microsoft.com/office/drawing/2014/main" id="{C204602E-E3B2-4B43-8A41-CAEF9FE0D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312988" y="6770688"/>
              <a:ext cx="100012" cy="106363"/>
            </a:xfrm>
            <a:custGeom>
              <a:avLst/>
              <a:gdLst>
                <a:gd name="T0" fmla="*/ 15 w 26"/>
                <a:gd name="T1" fmla="*/ 27 h 28"/>
                <a:gd name="T2" fmla="*/ 25 w 26"/>
                <a:gd name="T3" fmla="*/ 12 h 28"/>
                <a:gd name="T4" fmla="*/ 11 w 26"/>
                <a:gd name="T5" fmla="*/ 1 h 28"/>
                <a:gd name="T6" fmla="*/ 1 w 26"/>
                <a:gd name="T7" fmla="*/ 17 h 28"/>
                <a:gd name="T8" fmla="*/ 15 w 26"/>
                <a:gd name="T9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8">
                  <a:moveTo>
                    <a:pt x="15" y="27"/>
                  </a:moveTo>
                  <a:cubicBezTo>
                    <a:pt x="22" y="25"/>
                    <a:pt x="26" y="19"/>
                    <a:pt x="25" y="12"/>
                  </a:cubicBezTo>
                  <a:cubicBezTo>
                    <a:pt x="24" y="5"/>
                    <a:pt x="18" y="0"/>
                    <a:pt x="11" y="1"/>
                  </a:cubicBezTo>
                  <a:cubicBezTo>
                    <a:pt x="5" y="3"/>
                    <a:pt x="0" y="10"/>
                    <a:pt x="1" y="17"/>
                  </a:cubicBezTo>
                  <a:cubicBezTo>
                    <a:pt x="2" y="24"/>
                    <a:pt x="9" y="28"/>
                    <a:pt x="15" y="27"/>
                  </a:cubicBezTo>
                </a:path>
              </a:pathLst>
            </a:custGeom>
            <a:solidFill>
              <a:srgbClr val="2B0A3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5">
              <a:extLst>
                <a:ext uri="{FF2B5EF4-FFF2-40B4-BE49-F238E27FC236}">
                  <a16:creationId xmlns="" xmlns:a16="http://schemas.microsoft.com/office/drawing/2014/main" id="{4D24536C-0787-45F3-981C-45A263294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351088" y="6884988"/>
              <a:ext cx="176212" cy="117475"/>
            </a:xfrm>
            <a:custGeom>
              <a:avLst/>
              <a:gdLst>
                <a:gd name="T0" fmla="*/ 39 w 46"/>
                <a:gd name="T1" fmla="*/ 28 h 31"/>
                <a:gd name="T2" fmla="*/ 45 w 46"/>
                <a:gd name="T3" fmla="*/ 18 h 31"/>
                <a:gd name="T4" fmla="*/ 17 w 46"/>
                <a:gd name="T5" fmla="*/ 4 h 31"/>
                <a:gd name="T6" fmla="*/ 0 w 46"/>
                <a:gd name="T7" fmla="*/ 21 h 31"/>
                <a:gd name="T8" fmla="*/ 0 w 46"/>
                <a:gd name="T9" fmla="*/ 26 h 31"/>
                <a:gd name="T10" fmla="*/ 39 w 46"/>
                <a:gd name="T11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31">
                  <a:moveTo>
                    <a:pt x="39" y="28"/>
                  </a:moveTo>
                  <a:cubicBezTo>
                    <a:pt x="43" y="27"/>
                    <a:pt x="46" y="23"/>
                    <a:pt x="45" y="18"/>
                  </a:cubicBezTo>
                  <a:cubicBezTo>
                    <a:pt x="43" y="9"/>
                    <a:pt x="33" y="0"/>
                    <a:pt x="17" y="4"/>
                  </a:cubicBezTo>
                  <a:cubicBezTo>
                    <a:pt x="9" y="6"/>
                    <a:pt x="2" y="12"/>
                    <a:pt x="0" y="21"/>
                  </a:cubicBezTo>
                  <a:cubicBezTo>
                    <a:pt x="0" y="23"/>
                    <a:pt x="0" y="24"/>
                    <a:pt x="0" y="26"/>
                  </a:cubicBezTo>
                  <a:cubicBezTo>
                    <a:pt x="11" y="26"/>
                    <a:pt x="21" y="31"/>
                    <a:pt x="39" y="28"/>
                  </a:cubicBezTo>
                </a:path>
              </a:pathLst>
            </a:custGeom>
            <a:solidFill>
              <a:srgbClr val="2B0A3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6">
              <a:extLst>
                <a:ext uri="{FF2B5EF4-FFF2-40B4-BE49-F238E27FC236}">
                  <a16:creationId xmlns="" xmlns:a16="http://schemas.microsoft.com/office/drawing/2014/main" id="{BD97D8B8-F1A2-421D-B85E-EF91200F1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86038" y="6740525"/>
              <a:ext cx="87312" cy="90488"/>
            </a:xfrm>
            <a:custGeom>
              <a:avLst/>
              <a:gdLst>
                <a:gd name="T0" fmla="*/ 9 w 23"/>
                <a:gd name="T1" fmla="*/ 23 h 24"/>
                <a:gd name="T2" fmla="*/ 1 w 23"/>
                <a:gd name="T3" fmla="*/ 10 h 24"/>
                <a:gd name="T4" fmla="*/ 13 w 23"/>
                <a:gd name="T5" fmla="*/ 1 h 24"/>
                <a:gd name="T6" fmla="*/ 22 w 23"/>
                <a:gd name="T7" fmla="*/ 14 h 24"/>
                <a:gd name="T8" fmla="*/ 9 w 23"/>
                <a:gd name="T9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4">
                  <a:moveTo>
                    <a:pt x="9" y="23"/>
                  </a:moveTo>
                  <a:cubicBezTo>
                    <a:pt x="3" y="22"/>
                    <a:pt x="0" y="16"/>
                    <a:pt x="1" y="10"/>
                  </a:cubicBezTo>
                  <a:cubicBezTo>
                    <a:pt x="2" y="4"/>
                    <a:pt x="7" y="0"/>
                    <a:pt x="13" y="1"/>
                  </a:cubicBezTo>
                  <a:cubicBezTo>
                    <a:pt x="19" y="2"/>
                    <a:pt x="23" y="8"/>
                    <a:pt x="22" y="14"/>
                  </a:cubicBezTo>
                  <a:cubicBezTo>
                    <a:pt x="21" y="20"/>
                    <a:pt x="15" y="24"/>
                    <a:pt x="9" y="23"/>
                  </a:cubicBezTo>
                </a:path>
              </a:pathLst>
            </a:custGeom>
            <a:solidFill>
              <a:srgbClr val="2B0A3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">
              <a:extLst>
                <a:ext uri="{FF2B5EF4-FFF2-40B4-BE49-F238E27FC236}">
                  <a16:creationId xmlns="" xmlns:a16="http://schemas.microsoft.com/office/drawing/2014/main" id="{4A6B9362-D264-4FDE-9625-675518C3A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20963" y="6838950"/>
              <a:ext cx="155575" cy="103188"/>
            </a:xfrm>
            <a:custGeom>
              <a:avLst/>
              <a:gdLst>
                <a:gd name="T0" fmla="*/ 7 w 41"/>
                <a:gd name="T1" fmla="*/ 24 h 27"/>
                <a:gd name="T2" fmla="*/ 1 w 41"/>
                <a:gd name="T3" fmla="*/ 16 h 27"/>
                <a:gd name="T4" fmla="*/ 26 w 41"/>
                <a:gd name="T5" fmla="*/ 3 h 27"/>
                <a:gd name="T6" fmla="*/ 40 w 41"/>
                <a:gd name="T7" fmla="*/ 18 h 27"/>
                <a:gd name="T8" fmla="*/ 41 w 41"/>
                <a:gd name="T9" fmla="*/ 23 h 27"/>
                <a:gd name="T10" fmla="*/ 7 w 41"/>
                <a:gd name="T11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27">
                  <a:moveTo>
                    <a:pt x="7" y="24"/>
                  </a:moveTo>
                  <a:cubicBezTo>
                    <a:pt x="3" y="24"/>
                    <a:pt x="0" y="20"/>
                    <a:pt x="1" y="16"/>
                  </a:cubicBezTo>
                  <a:cubicBezTo>
                    <a:pt x="3" y="8"/>
                    <a:pt x="12" y="0"/>
                    <a:pt x="26" y="3"/>
                  </a:cubicBezTo>
                  <a:cubicBezTo>
                    <a:pt x="33" y="5"/>
                    <a:pt x="39" y="11"/>
                    <a:pt x="40" y="18"/>
                  </a:cubicBezTo>
                  <a:cubicBezTo>
                    <a:pt x="41" y="20"/>
                    <a:pt x="41" y="21"/>
                    <a:pt x="41" y="23"/>
                  </a:cubicBezTo>
                  <a:cubicBezTo>
                    <a:pt x="31" y="23"/>
                    <a:pt x="23" y="27"/>
                    <a:pt x="7" y="24"/>
                  </a:cubicBezTo>
                </a:path>
              </a:pathLst>
            </a:custGeom>
            <a:solidFill>
              <a:srgbClr val="2B0A3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">
              <a:extLst>
                <a:ext uri="{FF2B5EF4-FFF2-40B4-BE49-F238E27FC236}">
                  <a16:creationId xmlns="" xmlns:a16="http://schemas.microsoft.com/office/drawing/2014/main" id="{B7DF9E03-FFA0-4B20-8139-4704FDDED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82850" y="6710363"/>
              <a:ext cx="136525" cy="147638"/>
            </a:xfrm>
            <a:custGeom>
              <a:avLst/>
              <a:gdLst>
                <a:gd name="T0" fmla="*/ 19 w 36"/>
                <a:gd name="T1" fmla="*/ 38 h 39"/>
                <a:gd name="T2" fmla="*/ 36 w 36"/>
                <a:gd name="T3" fmla="*/ 18 h 39"/>
                <a:gd name="T4" fmla="*/ 18 w 36"/>
                <a:gd name="T5" fmla="*/ 1 h 39"/>
                <a:gd name="T6" fmla="*/ 1 w 36"/>
                <a:gd name="T7" fmla="*/ 21 h 39"/>
                <a:gd name="T8" fmla="*/ 19 w 36"/>
                <a:gd name="T9" fmla="*/ 3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9">
                  <a:moveTo>
                    <a:pt x="19" y="38"/>
                  </a:moveTo>
                  <a:cubicBezTo>
                    <a:pt x="30" y="37"/>
                    <a:pt x="36" y="28"/>
                    <a:pt x="36" y="18"/>
                  </a:cubicBezTo>
                  <a:cubicBezTo>
                    <a:pt x="36" y="8"/>
                    <a:pt x="28" y="0"/>
                    <a:pt x="18" y="1"/>
                  </a:cubicBezTo>
                  <a:cubicBezTo>
                    <a:pt x="8" y="1"/>
                    <a:pt x="0" y="10"/>
                    <a:pt x="1" y="21"/>
                  </a:cubicBezTo>
                  <a:cubicBezTo>
                    <a:pt x="1" y="31"/>
                    <a:pt x="9" y="39"/>
                    <a:pt x="19" y="38"/>
                  </a:cubicBezTo>
                </a:path>
              </a:pathLst>
            </a:custGeom>
            <a:solidFill>
              <a:srgbClr val="FF304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">
              <a:extLst>
                <a:ext uri="{FF2B5EF4-FFF2-40B4-BE49-F238E27FC236}">
                  <a16:creationId xmlns="" xmlns:a16="http://schemas.microsoft.com/office/drawing/2014/main" id="{703BE759-6853-470A-9B25-9A4FB68B0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40000" y="6873875"/>
              <a:ext cx="254000" cy="166688"/>
            </a:xfrm>
            <a:custGeom>
              <a:avLst/>
              <a:gdLst>
                <a:gd name="T0" fmla="*/ 0 w 67"/>
                <a:gd name="T1" fmla="*/ 38 h 44"/>
                <a:gd name="T2" fmla="*/ 0 w 67"/>
                <a:gd name="T3" fmla="*/ 30 h 44"/>
                <a:gd name="T4" fmla="*/ 24 w 67"/>
                <a:gd name="T5" fmla="*/ 5 h 44"/>
                <a:gd name="T6" fmla="*/ 64 w 67"/>
                <a:gd name="T7" fmla="*/ 24 h 44"/>
                <a:gd name="T8" fmla="*/ 55 w 67"/>
                <a:gd name="T9" fmla="*/ 40 h 44"/>
                <a:gd name="T10" fmla="*/ 0 w 67"/>
                <a:gd name="T11" fmla="*/ 3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44">
                  <a:moveTo>
                    <a:pt x="0" y="38"/>
                  </a:moveTo>
                  <a:cubicBezTo>
                    <a:pt x="0" y="35"/>
                    <a:pt x="0" y="32"/>
                    <a:pt x="0" y="30"/>
                  </a:cubicBezTo>
                  <a:cubicBezTo>
                    <a:pt x="3" y="17"/>
                    <a:pt x="13" y="8"/>
                    <a:pt x="24" y="5"/>
                  </a:cubicBezTo>
                  <a:cubicBezTo>
                    <a:pt x="47" y="0"/>
                    <a:pt x="60" y="11"/>
                    <a:pt x="64" y="24"/>
                  </a:cubicBezTo>
                  <a:cubicBezTo>
                    <a:pt x="67" y="31"/>
                    <a:pt x="62" y="39"/>
                    <a:pt x="55" y="40"/>
                  </a:cubicBezTo>
                  <a:cubicBezTo>
                    <a:pt x="30" y="44"/>
                    <a:pt x="15" y="37"/>
                    <a:pt x="0" y="38"/>
                  </a:cubicBezTo>
                </a:path>
              </a:pathLst>
            </a:custGeom>
            <a:solidFill>
              <a:srgbClr val="FF304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7" name="Text Placeholder 49">
            <a:extLst>
              <a:ext uri="{FF2B5EF4-FFF2-40B4-BE49-F238E27FC236}">
                <a16:creationId xmlns="" xmlns:a16="http://schemas.microsoft.com/office/drawing/2014/main" id="{B7587CDB-1C07-4A35-9025-AA8CE7486F0C}"/>
              </a:ext>
            </a:extLst>
          </p:cNvPr>
          <p:cNvSpPr txBox="1">
            <a:spLocks/>
          </p:cNvSpPr>
          <p:nvPr/>
        </p:nvSpPr>
        <p:spPr>
          <a:xfrm>
            <a:off x="970302" y="2061815"/>
            <a:ext cx="1286371" cy="4367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dirty="0">
                <a:solidFill>
                  <a:schemeClr val="bg1"/>
                </a:solidFill>
              </a:rPr>
              <a:t>Security</a:t>
            </a:r>
            <a:endParaRPr kumimoji="0" lang="pt-PT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8" name="Text Placeholder 49">
            <a:extLst>
              <a:ext uri="{FF2B5EF4-FFF2-40B4-BE49-F238E27FC236}">
                <a16:creationId xmlns="" xmlns:a16="http://schemas.microsoft.com/office/drawing/2014/main" id="{34D2C465-7F4C-4412-92A1-4BD3CF691704}"/>
              </a:ext>
            </a:extLst>
          </p:cNvPr>
          <p:cNvSpPr txBox="1">
            <a:spLocks/>
          </p:cNvSpPr>
          <p:nvPr/>
        </p:nvSpPr>
        <p:spPr>
          <a:xfrm>
            <a:off x="6886217" y="2094527"/>
            <a:ext cx="1286371" cy="4367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noProof="0" dirty="0">
                <a:solidFill>
                  <a:schemeClr val="bg1"/>
                </a:solidFill>
              </a:rPr>
              <a:t>Operations</a:t>
            </a:r>
            <a:endParaRPr kumimoji="0" lang="pt-PT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0" name="Text Placeholder 49">
            <a:extLst>
              <a:ext uri="{FF2B5EF4-FFF2-40B4-BE49-F238E27FC236}">
                <a16:creationId xmlns="" xmlns:a16="http://schemas.microsoft.com/office/drawing/2014/main" id="{EB482FB4-F3E7-4789-AB1F-61FD480489A7}"/>
              </a:ext>
            </a:extLst>
          </p:cNvPr>
          <p:cNvSpPr txBox="1">
            <a:spLocks/>
          </p:cNvSpPr>
          <p:nvPr/>
        </p:nvSpPr>
        <p:spPr>
          <a:xfrm>
            <a:off x="10537684" y="2061815"/>
            <a:ext cx="1286371" cy="4367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PT" sz="1400">
                <a:solidFill>
                  <a:schemeClr val="bg1"/>
                </a:solidFill>
              </a:rPr>
              <a:t>Uses</a:t>
            </a:r>
            <a:endParaRPr kumimoji="0" lang="pt-PT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1" name="Text Placeholder 53">
            <a:extLst>
              <a:ext uri="{FF2B5EF4-FFF2-40B4-BE49-F238E27FC236}">
                <a16:creationId xmlns="" xmlns:a16="http://schemas.microsoft.com/office/drawing/2014/main" id="{B381AF7E-E2EF-45EC-A796-E48D60A5BD42}"/>
              </a:ext>
            </a:extLst>
          </p:cNvPr>
          <p:cNvSpPr txBox="1">
            <a:spLocks/>
          </p:cNvSpPr>
          <p:nvPr/>
        </p:nvSpPr>
        <p:spPr>
          <a:xfrm>
            <a:off x="327117" y="2694954"/>
            <a:ext cx="2040560" cy="34875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173038" marR="0" lvl="0" indent="-17303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>
                <a:tab pos="180975" algn="l"/>
              </a:tabLst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alidations for respective inputs</a:t>
            </a:r>
          </a:p>
          <a:p>
            <a:pPr marL="173038" marR="0" lvl="0" indent="-17303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>
                <a:tab pos="180975" algn="l"/>
              </a:tabLst>
              <a:defRPr/>
            </a:pPr>
            <a:r>
              <a:rPr lang="en-US" sz="1300" dirty="0"/>
              <a:t>Session Management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3038" marR="0" lvl="0" indent="-17303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>
                <a:tab pos="180975" algn="l"/>
              </a:tabLst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3038" marR="0" lvl="0" indent="-17303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5E616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2" name="Text Placeholder 54">
            <a:extLst>
              <a:ext uri="{FF2B5EF4-FFF2-40B4-BE49-F238E27FC236}">
                <a16:creationId xmlns="" xmlns:a16="http://schemas.microsoft.com/office/drawing/2014/main" id="{CFEE2F2B-C0AC-4233-BD61-A582DD47325E}"/>
              </a:ext>
            </a:extLst>
          </p:cNvPr>
          <p:cNvSpPr txBox="1">
            <a:spLocks/>
          </p:cNvSpPr>
          <p:nvPr/>
        </p:nvSpPr>
        <p:spPr>
          <a:xfrm>
            <a:off x="3520500" y="2727125"/>
            <a:ext cx="2040560" cy="34875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72720" indent="-172720">
              <a:lnSpc>
                <a:spcPct val="90000"/>
              </a:lnSpc>
              <a:spcBef>
                <a:spcPts val="1000"/>
              </a:spcBef>
              <a:buClr>
                <a:srgbClr val="0070AD"/>
              </a:buClr>
              <a:buFont typeface="Arial" panose="020B0604020202020204" pitchFamily="34" charset="0"/>
              <a:buChar char="•"/>
              <a:defRPr/>
            </a:pPr>
            <a:r>
              <a:rPr lang="en-US" sz="1300" dirty="0"/>
              <a:t>Easy to operate</a:t>
            </a:r>
            <a:endParaRPr lang="en-US" sz="1300" dirty="0">
              <a:ea typeface="+mn-ea"/>
              <a:cs typeface="+mn-cs"/>
            </a:endParaRPr>
          </a:p>
          <a:p>
            <a:pPr marL="172720" indent="-172720">
              <a:lnSpc>
                <a:spcPct val="90000"/>
              </a:lnSpc>
              <a:spcBef>
                <a:spcPts val="1000"/>
              </a:spcBef>
              <a:buClr>
                <a:srgbClr val="0070AD"/>
              </a:buClr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ea typeface="Verdana"/>
              </a:rPr>
              <a:t>Scalable</a:t>
            </a:r>
            <a:endParaRPr lang="en-US" sz="1300" dirty="0"/>
          </a:p>
          <a:p>
            <a:pPr marL="172720" indent="-172720">
              <a:lnSpc>
                <a:spcPct val="90000"/>
              </a:lnSpc>
              <a:spcBef>
                <a:spcPts val="1000"/>
              </a:spcBef>
              <a:buClr>
                <a:srgbClr val="0070AD"/>
              </a:buClr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ea typeface="Verdana"/>
              </a:rPr>
              <a:t>Secure</a:t>
            </a:r>
            <a:endParaRPr lang="en-US" sz="1300" dirty="0"/>
          </a:p>
          <a:p>
            <a:pPr>
              <a:lnSpc>
                <a:spcPct val="90000"/>
              </a:lnSpc>
              <a:spcBef>
                <a:spcPts val="1000"/>
              </a:spcBef>
              <a:buClr>
                <a:srgbClr val="0070AD"/>
              </a:buClr>
              <a:defRPr/>
            </a:pPr>
            <a:endParaRPr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Verdana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AD"/>
              </a:buClr>
              <a:buSzTx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3" name="Text Placeholder 55">
            <a:extLst>
              <a:ext uri="{FF2B5EF4-FFF2-40B4-BE49-F238E27FC236}">
                <a16:creationId xmlns="" xmlns:a16="http://schemas.microsoft.com/office/drawing/2014/main" id="{2490ED01-BBF4-4534-BC78-234CA59A4782}"/>
              </a:ext>
            </a:extLst>
          </p:cNvPr>
          <p:cNvSpPr txBox="1">
            <a:spLocks/>
          </p:cNvSpPr>
          <p:nvPr/>
        </p:nvSpPr>
        <p:spPr>
          <a:xfrm>
            <a:off x="6570804" y="2688872"/>
            <a:ext cx="2040560" cy="34875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72720" marR="0" lvl="0" indent="-17272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300" dirty="0"/>
              <a:t>View All </a:t>
            </a:r>
            <a:r>
              <a:rPr lang="en-US" sz="1300" dirty="0" smtClean="0"/>
              <a:t>Users(Admin and customer)</a:t>
            </a:r>
            <a:endParaRPr lang="en-US" dirty="0">
              <a:ea typeface="+mn-ea"/>
              <a:cs typeface="+mn-cs"/>
            </a:endParaRPr>
          </a:p>
          <a:p>
            <a:pPr marL="172720" marR="0" lvl="0" indent="-17272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300" dirty="0" smtClean="0"/>
              <a:t>Admin </a:t>
            </a:r>
            <a:r>
              <a:rPr lang="en-US" sz="1300" dirty="0"/>
              <a:t>login</a:t>
            </a:r>
          </a:p>
          <a:p>
            <a:pPr marL="172720" marR="0" lvl="0" indent="-17272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300" dirty="0"/>
              <a:t>User login</a:t>
            </a:r>
          </a:p>
          <a:p>
            <a:pPr marL="172720" marR="0" lvl="0" indent="-17272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300" dirty="0" smtClean="0">
                <a:ea typeface="Verdana"/>
              </a:rPr>
              <a:t>User can give a Ads request</a:t>
            </a:r>
            <a:endParaRPr lang="en-US" sz="1300" dirty="0">
              <a:ea typeface="Verdana"/>
            </a:endParaRPr>
          </a:p>
          <a:p>
            <a:pPr marL="172720" marR="0" lvl="0" indent="-17272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300" dirty="0" smtClean="0">
                <a:ea typeface="Verdana"/>
              </a:rPr>
              <a:t>Admin can view user info and ads requested by user and approve request.</a:t>
            </a:r>
          </a:p>
          <a:p>
            <a:pPr marL="172720" marR="0" lvl="0" indent="-17272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300" dirty="0" smtClean="0">
                <a:ea typeface="Verdana"/>
              </a:rPr>
              <a:t>User can track ads status</a:t>
            </a:r>
            <a:endParaRPr lang="en-US" sz="1300" dirty="0">
              <a:ea typeface="Verdana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AD"/>
              </a:buClr>
              <a:buSzTx/>
              <a:tabLst/>
              <a:defRPr/>
            </a:pPr>
            <a:endParaRPr lang="en-US" sz="1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Verdana"/>
            </a:endParaRPr>
          </a:p>
        </p:txBody>
      </p:sp>
      <p:sp>
        <p:nvSpPr>
          <p:cNvPr id="75" name="Text Placeholder 57">
            <a:extLst>
              <a:ext uri="{FF2B5EF4-FFF2-40B4-BE49-F238E27FC236}">
                <a16:creationId xmlns="" xmlns:a16="http://schemas.microsoft.com/office/drawing/2014/main" id="{32A1182A-5A8F-41C4-B8F2-95E010CBB41A}"/>
              </a:ext>
            </a:extLst>
          </p:cNvPr>
          <p:cNvSpPr txBox="1">
            <a:spLocks/>
          </p:cNvSpPr>
          <p:nvPr/>
        </p:nvSpPr>
        <p:spPr>
          <a:xfrm>
            <a:off x="9873229" y="2694954"/>
            <a:ext cx="2040560" cy="34875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72720" indent="-172720">
              <a:lnSpc>
                <a:spcPct val="90000"/>
              </a:lnSpc>
              <a:spcBef>
                <a:spcPts val="1000"/>
              </a:spcBef>
              <a:buClr>
                <a:srgbClr val="0070AD"/>
              </a:buClr>
              <a:buFont typeface="Arial" panose="020B0604020202020204" pitchFamily="34" charset="0"/>
              <a:buChar char="•"/>
              <a:defRPr/>
            </a:pPr>
            <a:r>
              <a:rPr lang="en-US" sz="1300" dirty="0" smtClean="0">
                <a:ea typeface="Verdana"/>
              </a:rPr>
              <a:t>Customer and News Paper agencies can communicate  easily.</a:t>
            </a:r>
            <a:endParaRPr lang="en-US" sz="1300" dirty="0">
              <a:ea typeface="Verdana"/>
            </a:endParaRPr>
          </a:p>
          <a:p>
            <a:pPr marL="172720" marR="0" lvl="0" indent="-17272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300" dirty="0" smtClean="0"/>
              <a:t>User can Request different type of ads in online.</a:t>
            </a:r>
            <a:endParaRPr lang="en-US" sz="1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Verdana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AD"/>
              </a:buClr>
              <a:buSzTx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2720" marR="0" lvl="0" indent="-17272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0AD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Verdana"/>
            </a:endParaRPr>
          </a:p>
        </p:txBody>
      </p:sp>
      <p:sp>
        <p:nvSpPr>
          <p:cNvPr id="76" name="Text Placeholder 49">
            <a:extLst>
              <a:ext uri="{FF2B5EF4-FFF2-40B4-BE49-F238E27FC236}">
                <a16:creationId xmlns="" xmlns:a16="http://schemas.microsoft.com/office/drawing/2014/main" id="{DF8B7F35-0F7B-446E-8B36-6743367C0AA4}"/>
              </a:ext>
            </a:extLst>
          </p:cNvPr>
          <p:cNvSpPr txBox="1">
            <a:spLocks/>
          </p:cNvSpPr>
          <p:nvPr/>
        </p:nvSpPr>
        <p:spPr>
          <a:xfrm>
            <a:off x="3382247" y="2061815"/>
            <a:ext cx="1286371" cy="4367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>
                <a:solidFill>
                  <a:schemeClr val="bg1"/>
                </a:solidFill>
              </a:rPr>
              <a:t>Ideas</a:t>
            </a:r>
            <a:endParaRPr kumimoji="0" lang="pt-PT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667188" y="2981770"/>
            <a:ext cx="2365463" cy="1902287"/>
          </a:xfrm>
        </p:spPr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</a:rPr>
              <a:t>Thanks</a:t>
            </a:r>
            <a:endParaRPr lang="en-US" dirty="0">
              <a:solidFill>
                <a:schemeClr val="tx1"/>
              </a:solidFill>
            </a:endParaRPr>
          </a:p>
          <a:p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809357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pt-template.potx" id="{6288A6B4-8D07-4938-A82F-A0093CB90658}" vid="{E773FF80-0C60-4FD3-859A-2513E72AB802}"/>
    </a:ext>
  </a:extLst>
</a:theme>
</file>

<file path=ppt/theme/theme2.xml><?xml version="1.0" encoding="utf-8"?>
<a:theme xmlns:a="http://schemas.openxmlformats.org/drawingml/2006/main" name="Section break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pt-template.potx" id="{6288A6B4-8D07-4938-A82F-A0093CB90658}" vid="{82A3DD98-1C79-4DA8-9EDA-70F102F85C5D}"/>
    </a:ext>
  </a:extLst>
</a:theme>
</file>

<file path=ppt/theme/theme3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43000" r="43000" b="10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Gallery" id="{BBFCD31E-59A1-489D-B089-A3EAD7CAE12E}" vid="{F5E91637-A7B6-4E27-B710-77DA7014EE1E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845</TotalTime>
  <Words>194</Words>
  <Application>Microsoft Office PowerPoint</Application>
  <PresentationFormat>Custom</PresentationFormat>
  <Paragraphs>49</Paragraphs>
  <Slides>6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Capgemini Master</vt:lpstr>
      <vt:lpstr>Section break</vt:lpstr>
      <vt:lpstr>Gallery</vt:lpstr>
      <vt:lpstr>think-cell Slide</vt:lpstr>
      <vt:lpstr>Slide 1</vt:lpstr>
      <vt:lpstr>                         News Paper Advetisement </vt:lpstr>
      <vt:lpstr>Architecture</vt:lpstr>
      <vt:lpstr>Slide 4</vt:lpstr>
      <vt:lpstr>Scope Of New Paper Advertisement App  </vt:lpstr>
      <vt:lpstr>Slide 6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ood Bank Management System</dc:title>
  <dc:creator>., Vikash</dc:creator>
  <cp:lastModifiedBy>Soumya</cp:lastModifiedBy>
  <cp:revision>432</cp:revision>
  <dcterms:created xsi:type="dcterms:W3CDTF">2019-10-08T10:21:43Z</dcterms:created>
  <dcterms:modified xsi:type="dcterms:W3CDTF">2020-10-22T04:37:23Z</dcterms:modified>
</cp:coreProperties>
</file>